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03" r:id="rId1"/>
  </p:sld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</p:sldIdLst>
  <p:sldSz cx="12192000" cy="6858000"/>
  <p:notesSz cx="6858000" cy="9144000"/>
  <p:custDataLst>
    <p:tags r:id="rId10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tancete Stefan" initials="SS" lastIdx="1" clrIdx="0">
    <p:extLst>
      <p:ext uri="{19B8F6BF-5375-455C-9EA6-DF929625EA0E}">
        <p15:presenceInfo xmlns:p15="http://schemas.microsoft.com/office/powerpoint/2012/main" userId="S::Stancete.Stefan@liceulhorezu.ro::3f9dab18-3278-415b-baea-c40e9597199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4A47E"/>
    <a:srgbClr val="33D8C5"/>
    <a:srgbClr val="5E7867"/>
    <a:srgbClr val="ADA9AB"/>
    <a:srgbClr val="16ACC0"/>
    <a:srgbClr val="1CBFD4"/>
    <a:srgbClr val="22CFE6"/>
    <a:srgbClr val="0DF36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4660"/>
  </p:normalViewPr>
  <p:slideViewPr>
    <p:cSldViewPr snapToGrid="0">
      <p:cViewPr>
        <p:scale>
          <a:sx n="66" d="100"/>
          <a:sy n="66" d="100"/>
        </p:scale>
        <p:origin x="1330" y="3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CEC336-3008-4B96-8184-F7F41C13CDD3}" type="datetimeFigureOut">
              <a:rPr lang="en-US" smtClean="0"/>
              <a:t>4/22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tea-MLP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32365E-C40E-4D2C-BAB5-7D9FD0895259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Frame 6">
            <a:extLst>
              <a:ext uri="{FF2B5EF4-FFF2-40B4-BE49-F238E27FC236}">
                <a16:creationId xmlns:a16="http://schemas.microsoft.com/office/drawing/2014/main" id="{F877751B-2725-7FD8-8761-D99E6AEC84E0}"/>
              </a:ext>
            </a:extLst>
          </p:cNvPr>
          <p:cNvSpPr/>
          <p:nvPr userDrawn="1"/>
        </p:nvSpPr>
        <p:spPr>
          <a:xfrm>
            <a:off x="-1715614" y="-1101836"/>
            <a:ext cx="2876667" cy="3242372"/>
          </a:xfrm>
          <a:prstGeom prst="frame">
            <a:avLst>
              <a:gd name="adj1" fmla="val 13183"/>
            </a:avLst>
          </a:prstGeom>
          <a:solidFill>
            <a:srgbClr val="33D8C5"/>
          </a:solidFill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Frame 7">
            <a:extLst>
              <a:ext uri="{FF2B5EF4-FFF2-40B4-BE49-F238E27FC236}">
                <a16:creationId xmlns:a16="http://schemas.microsoft.com/office/drawing/2014/main" id="{DD8117D4-F540-FB8F-7898-9CAA56B16566}"/>
              </a:ext>
            </a:extLst>
          </p:cNvPr>
          <p:cNvSpPr/>
          <p:nvPr userDrawn="1"/>
        </p:nvSpPr>
        <p:spPr>
          <a:xfrm>
            <a:off x="11138735" y="4303196"/>
            <a:ext cx="2622341" cy="3127614"/>
          </a:xfrm>
          <a:prstGeom prst="frame">
            <a:avLst>
              <a:gd name="adj1" fmla="val 13183"/>
            </a:avLst>
          </a:prstGeom>
          <a:solidFill>
            <a:srgbClr val="F4A47E"/>
          </a:solidFill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9" name="L-Shape 8">
            <a:extLst>
              <a:ext uri="{FF2B5EF4-FFF2-40B4-BE49-F238E27FC236}">
                <a16:creationId xmlns:a16="http://schemas.microsoft.com/office/drawing/2014/main" id="{5991C313-B057-9585-25D0-B51DCF650C66}"/>
              </a:ext>
            </a:extLst>
          </p:cNvPr>
          <p:cNvSpPr/>
          <p:nvPr userDrawn="1"/>
        </p:nvSpPr>
        <p:spPr>
          <a:xfrm rot="16200000">
            <a:off x="626247" y="-1773936"/>
            <a:ext cx="640080" cy="4224528"/>
          </a:xfrm>
          <a:prstGeom prst="corner">
            <a:avLst/>
          </a:prstGeom>
          <a:solidFill>
            <a:srgbClr val="F4A47E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L-Shape 9">
            <a:extLst>
              <a:ext uri="{FF2B5EF4-FFF2-40B4-BE49-F238E27FC236}">
                <a16:creationId xmlns:a16="http://schemas.microsoft.com/office/drawing/2014/main" id="{3DD550B9-5ACF-3A27-EA0C-0278FC6A66EE}"/>
              </a:ext>
            </a:extLst>
          </p:cNvPr>
          <p:cNvSpPr/>
          <p:nvPr userDrawn="1"/>
        </p:nvSpPr>
        <p:spPr>
          <a:xfrm rot="5400000">
            <a:off x="11033760" y="4425696"/>
            <a:ext cx="640080" cy="4224528"/>
          </a:xfrm>
          <a:prstGeom prst="corner">
            <a:avLst/>
          </a:prstGeom>
          <a:solidFill>
            <a:srgbClr val="33D8C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51596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CEC336-3008-4B96-8184-F7F41C13CDD3}" type="datetimeFigureOut">
              <a:rPr lang="en-US" smtClean="0"/>
              <a:t>4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32365E-C40E-4D2C-BAB5-7D9FD08952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04568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CEC336-3008-4B96-8184-F7F41C13CDD3}" type="datetimeFigureOut">
              <a:rPr lang="en-US" smtClean="0"/>
              <a:t>4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32365E-C40E-4D2C-BAB5-7D9FD08952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13603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CEC336-3008-4B96-8184-F7F41C13CDD3}" type="datetimeFigureOut">
              <a:rPr lang="en-US" smtClean="0"/>
              <a:t>4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32365E-C40E-4D2C-BAB5-7D9FD08952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28674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CEC336-3008-4B96-8184-F7F41C13CDD3}" type="datetimeFigureOut">
              <a:rPr lang="en-US" smtClean="0"/>
              <a:t>4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32365E-C40E-4D2C-BAB5-7D9FD08952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3989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CEC336-3008-4B96-8184-F7F41C13CDD3}" type="datetimeFigureOut">
              <a:rPr lang="en-US" smtClean="0"/>
              <a:t>4/22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32365E-C40E-4D2C-BAB5-7D9FD08952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5516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CEC336-3008-4B96-8184-F7F41C13CDD3}" type="datetimeFigureOut">
              <a:rPr lang="en-US" smtClean="0"/>
              <a:t>4/22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32365E-C40E-4D2C-BAB5-7D9FD08952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30594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CEC336-3008-4B96-8184-F7F41C13CDD3}" type="datetimeFigureOut">
              <a:rPr lang="en-US" smtClean="0"/>
              <a:t>4/22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32365E-C40E-4D2C-BAB5-7D9FD08952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49620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CEC336-3008-4B96-8184-F7F41C13CDD3}" type="datetimeFigureOut">
              <a:rPr lang="en-US" smtClean="0"/>
              <a:t>4/22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32365E-C40E-4D2C-BAB5-7D9FD08952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14114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CEC336-3008-4B96-8184-F7F41C13CDD3}" type="datetimeFigureOut">
              <a:rPr lang="en-US" smtClean="0"/>
              <a:t>4/22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32365E-C40E-4D2C-BAB5-7D9FD08952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09171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CEC336-3008-4B96-8184-F7F41C13CDD3}" type="datetimeFigureOut">
              <a:rPr lang="en-US" smtClean="0"/>
              <a:t>4/22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32365E-C40E-4D2C-BAB5-7D9FD08952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49468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DCEC336-3008-4B96-8184-F7F41C13CDD3}" type="datetimeFigureOut">
              <a:rPr lang="en-US" smtClean="0"/>
              <a:t>4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632365E-C40E-4D2C-BAB5-7D9FD0895259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BCCEA9-6F84-55E1-BD65-D526637219AC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925312" y="6672580"/>
            <a:ext cx="369888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de-DE" sz="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16582296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4" r:id="rId1"/>
    <p:sldLayoutId id="2147483905" r:id="rId2"/>
    <p:sldLayoutId id="2147483906" r:id="rId3"/>
    <p:sldLayoutId id="2147483907" r:id="rId4"/>
    <p:sldLayoutId id="2147483908" r:id="rId5"/>
    <p:sldLayoutId id="2147483909" r:id="rId6"/>
    <p:sldLayoutId id="2147483910" r:id="rId7"/>
    <p:sldLayoutId id="2147483911" r:id="rId8"/>
    <p:sldLayoutId id="2147483912" r:id="rId9"/>
    <p:sldLayoutId id="2147483913" r:id="rId10"/>
    <p:sldLayoutId id="214748391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699F2931-70EC-414E-8957-39CC893D90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78FFBE11-4B3E-48D7-94D4-2EC8CC9FE8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3479720"/>
            <a:ext cx="12192000" cy="3378280"/>
          </a:xfrm>
          <a:custGeom>
            <a:avLst/>
            <a:gdLst>
              <a:gd name="connsiteX0" fmla="*/ 0 w 12192000"/>
              <a:gd name="connsiteY0" fmla="*/ 0 h 3378280"/>
              <a:gd name="connsiteX1" fmla="*/ 13973 w 12192000"/>
              <a:gd name="connsiteY1" fmla="*/ 3431 h 3378280"/>
              <a:gd name="connsiteX2" fmla="*/ 86774 w 12192000"/>
              <a:gd name="connsiteY2" fmla="*/ 43536 h 3378280"/>
              <a:gd name="connsiteX3" fmla="*/ 229780 w 12192000"/>
              <a:gd name="connsiteY3" fmla="*/ 145557 h 3378280"/>
              <a:gd name="connsiteX4" fmla="*/ 302639 w 12192000"/>
              <a:gd name="connsiteY4" fmla="*/ 203425 h 3378280"/>
              <a:gd name="connsiteX5" fmla="*/ 348081 w 12192000"/>
              <a:gd name="connsiteY5" fmla="*/ 187174 h 3378280"/>
              <a:gd name="connsiteX6" fmla="*/ 436950 w 12192000"/>
              <a:gd name="connsiteY6" fmla="*/ 184066 h 3378280"/>
              <a:gd name="connsiteX7" fmla="*/ 501693 w 12192000"/>
              <a:gd name="connsiteY7" fmla="*/ 233225 h 3378280"/>
              <a:gd name="connsiteX8" fmla="*/ 557201 w 12192000"/>
              <a:gd name="connsiteY8" fmla="*/ 312390 h 3378280"/>
              <a:gd name="connsiteX9" fmla="*/ 617648 w 12192000"/>
              <a:gd name="connsiteY9" fmla="*/ 333897 h 3378280"/>
              <a:gd name="connsiteX10" fmla="*/ 692332 w 12192000"/>
              <a:gd name="connsiteY10" fmla="*/ 386327 h 3378280"/>
              <a:gd name="connsiteX11" fmla="*/ 802009 w 12192000"/>
              <a:gd name="connsiteY11" fmla="*/ 419027 h 3378280"/>
              <a:gd name="connsiteX12" fmla="*/ 914003 w 12192000"/>
              <a:gd name="connsiteY12" fmla="*/ 475419 h 3378280"/>
              <a:gd name="connsiteX13" fmla="*/ 938561 w 12192000"/>
              <a:gd name="connsiteY13" fmla="*/ 472887 h 3378280"/>
              <a:gd name="connsiteX14" fmla="*/ 1035683 w 12192000"/>
              <a:gd name="connsiteY14" fmla="*/ 486697 h 3378280"/>
              <a:gd name="connsiteX15" fmla="*/ 1035757 w 12192000"/>
              <a:gd name="connsiteY15" fmla="*/ 486731 h 3378280"/>
              <a:gd name="connsiteX16" fmla="*/ 1074336 w 12192000"/>
              <a:gd name="connsiteY16" fmla="*/ 494465 h 3378280"/>
              <a:gd name="connsiteX17" fmla="*/ 1285084 w 12192000"/>
              <a:gd name="connsiteY17" fmla="*/ 589112 h 3378280"/>
              <a:gd name="connsiteX18" fmla="*/ 1409116 w 12192000"/>
              <a:gd name="connsiteY18" fmla="*/ 656332 h 3378280"/>
              <a:gd name="connsiteX19" fmla="*/ 1533725 w 12192000"/>
              <a:gd name="connsiteY19" fmla="*/ 699179 h 3378280"/>
              <a:gd name="connsiteX20" fmla="*/ 1636242 w 12192000"/>
              <a:gd name="connsiteY20" fmla="*/ 741533 h 3378280"/>
              <a:gd name="connsiteX21" fmla="*/ 1704848 w 12192000"/>
              <a:gd name="connsiteY21" fmla="*/ 770749 h 3378280"/>
              <a:gd name="connsiteX22" fmla="*/ 1718292 w 12192000"/>
              <a:gd name="connsiteY22" fmla="*/ 781051 h 3378280"/>
              <a:gd name="connsiteX23" fmla="*/ 1720835 w 12192000"/>
              <a:gd name="connsiteY23" fmla="*/ 781117 h 3378280"/>
              <a:gd name="connsiteX24" fmla="*/ 1753341 w 12192000"/>
              <a:gd name="connsiteY24" fmla="*/ 800301 h 3378280"/>
              <a:gd name="connsiteX25" fmla="*/ 1775454 w 12192000"/>
              <a:gd name="connsiteY25" fmla="*/ 815182 h 3378280"/>
              <a:gd name="connsiteX26" fmla="*/ 1781011 w 12192000"/>
              <a:gd name="connsiteY26" fmla="*/ 816068 h 3378280"/>
              <a:gd name="connsiteX27" fmla="*/ 1817738 w 12192000"/>
              <a:gd name="connsiteY27" fmla="*/ 834926 h 3378280"/>
              <a:gd name="connsiteX28" fmla="*/ 1830702 w 12192000"/>
              <a:gd name="connsiteY28" fmla="*/ 836485 h 3378280"/>
              <a:gd name="connsiteX29" fmla="*/ 1853950 w 12192000"/>
              <a:gd name="connsiteY29" fmla="*/ 841519 h 3378280"/>
              <a:gd name="connsiteX30" fmla="*/ 1915890 w 12192000"/>
              <a:gd name="connsiteY30" fmla="*/ 841983 h 3378280"/>
              <a:gd name="connsiteX31" fmla="*/ 1960900 w 12192000"/>
              <a:gd name="connsiteY31" fmla="*/ 865789 h 3378280"/>
              <a:gd name="connsiteX32" fmla="*/ 1961217 w 12192000"/>
              <a:gd name="connsiteY32" fmla="*/ 865662 h 3378280"/>
              <a:gd name="connsiteX33" fmla="*/ 1969825 w 12192000"/>
              <a:gd name="connsiteY33" fmla="*/ 869049 h 3378280"/>
              <a:gd name="connsiteX34" fmla="*/ 1975234 w 12192000"/>
              <a:gd name="connsiteY34" fmla="*/ 872329 h 3378280"/>
              <a:gd name="connsiteX35" fmla="*/ 1990485 w 12192000"/>
              <a:gd name="connsiteY35" fmla="*/ 879288 h 3378280"/>
              <a:gd name="connsiteX36" fmla="*/ 1996793 w 12192000"/>
              <a:gd name="connsiteY36" fmla="*/ 880361 h 3378280"/>
              <a:gd name="connsiteX37" fmla="*/ 2055091 w 12192000"/>
              <a:gd name="connsiteY37" fmla="*/ 872818 h 3378280"/>
              <a:gd name="connsiteX38" fmla="*/ 2165143 w 12192000"/>
              <a:gd name="connsiteY38" fmla="*/ 892293 h 3378280"/>
              <a:gd name="connsiteX39" fmla="*/ 2274196 w 12192000"/>
              <a:gd name="connsiteY39" fmla="*/ 914768 h 3378280"/>
              <a:gd name="connsiteX40" fmla="*/ 2383986 w 12192000"/>
              <a:gd name="connsiteY40" fmla="*/ 934891 h 3378280"/>
              <a:gd name="connsiteX41" fmla="*/ 2420278 w 12192000"/>
              <a:gd name="connsiteY41" fmla="*/ 933890 h 3378280"/>
              <a:gd name="connsiteX42" fmla="*/ 2426203 w 12192000"/>
              <a:gd name="connsiteY42" fmla="*/ 933891 h 3378280"/>
              <a:gd name="connsiteX43" fmla="*/ 2448674 w 12192000"/>
              <a:gd name="connsiteY43" fmla="*/ 941056 h 3378280"/>
              <a:gd name="connsiteX44" fmla="*/ 2457640 w 12192000"/>
              <a:gd name="connsiteY44" fmla="*/ 943105 h 3378280"/>
              <a:gd name="connsiteX45" fmla="*/ 2457852 w 12192000"/>
              <a:gd name="connsiteY45" fmla="*/ 942912 h 3378280"/>
              <a:gd name="connsiteX46" fmla="*/ 2466265 w 12192000"/>
              <a:gd name="connsiteY46" fmla="*/ 945310 h 3378280"/>
              <a:gd name="connsiteX47" fmla="*/ 2507496 w 12192000"/>
              <a:gd name="connsiteY47" fmla="*/ 960111 h 3378280"/>
              <a:gd name="connsiteX48" fmla="*/ 2561127 w 12192000"/>
              <a:gd name="connsiteY48" fmla="*/ 949411 h 3378280"/>
              <a:gd name="connsiteX49" fmla="*/ 2583467 w 12192000"/>
              <a:gd name="connsiteY49" fmla="*/ 950570 h 3378280"/>
              <a:gd name="connsiteX50" fmla="*/ 2595361 w 12192000"/>
              <a:gd name="connsiteY50" fmla="*/ 949884 h 3378280"/>
              <a:gd name="connsiteX51" fmla="*/ 2596075 w 12192000"/>
              <a:gd name="connsiteY51" fmla="*/ 949000 h 3378280"/>
              <a:gd name="connsiteX52" fmla="*/ 2666638 w 12192000"/>
              <a:gd name="connsiteY52" fmla="*/ 975095 h 3378280"/>
              <a:gd name="connsiteX53" fmla="*/ 2703393 w 12192000"/>
              <a:gd name="connsiteY53" fmla="*/ 989635 h 3378280"/>
              <a:gd name="connsiteX54" fmla="*/ 2705616 w 12192000"/>
              <a:gd name="connsiteY54" fmla="*/ 989244 h 3378280"/>
              <a:gd name="connsiteX55" fmla="*/ 2721898 w 12192000"/>
              <a:gd name="connsiteY55" fmla="*/ 997777 h 3378280"/>
              <a:gd name="connsiteX56" fmla="*/ 2735669 w 12192000"/>
              <a:gd name="connsiteY56" fmla="*/ 1009612 h 3378280"/>
              <a:gd name="connsiteX57" fmla="*/ 2857526 w 12192000"/>
              <a:gd name="connsiteY57" fmla="*/ 1030627 h 3378280"/>
              <a:gd name="connsiteX58" fmla="*/ 3021918 w 12192000"/>
              <a:gd name="connsiteY58" fmla="*/ 1088093 h 3378280"/>
              <a:gd name="connsiteX59" fmla="*/ 3155458 w 12192000"/>
              <a:gd name="connsiteY59" fmla="*/ 1121618 h 3378280"/>
              <a:gd name="connsiteX60" fmla="*/ 3328229 w 12192000"/>
              <a:gd name="connsiteY60" fmla="*/ 1155903 h 3378280"/>
              <a:gd name="connsiteX61" fmla="*/ 3448440 w 12192000"/>
              <a:gd name="connsiteY61" fmla="*/ 1184343 h 3378280"/>
              <a:gd name="connsiteX62" fmla="*/ 3499287 w 12192000"/>
              <a:gd name="connsiteY62" fmla="*/ 1209472 h 3378280"/>
              <a:gd name="connsiteX63" fmla="*/ 3520027 w 12192000"/>
              <a:gd name="connsiteY63" fmla="*/ 1207338 h 3378280"/>
              <a:gd name="connsiteX64" fmla="*/ 3523594 w 12192000"/>
              <a:gd name="connsiteY64" fmla="*/ 1206755 h 3378280"/>
              <a:gd name="connsiteX65" fmla="*/ 3538013 w 12192000"/>
              <a:gd name="connsiteY65" fmla="*/ 1209066 h 3378280"/>
              <a:gd name="connsiteX66" fmla="*/ 3541918 w 12192000"/>
              <a:gd name="connsiteY66" fmla="*/ 1203922 h 3378280"/>
              <a:gd name="connsiteX67" fmla="*/ 3590082 w 12192000"/>
              <a:gd name="connsiteY67" fmla="*/ 1209115 h 3378280"/>
              <a:gd name="connsiteX68" fmla="*/ 3716445 w 12192000"/>
              <a:gd name="connsiteY68" fmla="*/ 1243431 h 3378280"/>
              <a:gd name="connsiteX69" fmla="*/ 3792028 w 12192000"/>
              <a:gd name="connsiteY69" fmla="*/ 1260288 h 3378280"/>
              <a:gd name="connsiteX70" fmla="*/ 3820707 w 12192000"/>
              <a:gd name="connsiteY70" fmla="*/ 1260924 h 3378280"/>
              <a:gd name="connsiteX71" fmla="*/ 3860784 w 12192000"/>
              <a:gd name="connsiteY71" fmla="*/ 1265692 h 3378280"/>
              <a:gd name="connsiteX72" fmla="*/ 3997310 w 12192000"/>
              <a:gd name="connsiteY72" fmla="*/ 1281176 h 3378280"/>
              <a:gd name="connsiteX73" fmla="*/ 4040665 w 12192000"/>
              <a:gd name="connsiteY73" fmla="*/ 1291934 h 3378280"/>
              <a:gd name="connsiteX74" fmla="*/ 4046831 w 12192000"/>
              <a:gd name="connsiteY74" fmla="*/ 1293910 h 3378280"/>
              <a:gd name="connsiteX75" fmla="*/ 4095847 w 12192000"/>
              <a:gd name="connsiteY75" fmla="*/ 1316851 h 3378280"/>
              <a:gd name="connsiteX76" fmla="*/ 4101945 w 12192000"/>
              <a:gd name="connsiteY76" fmla="*/ 1313869 h 3378280"/>
              <a:gd name="connsiteX77" fmla="*/ 4119420 w 12192000"/>
              <a:gd name="connsiteY77" fmla="*/ 1313965 h 3378280"/>
              <a:gd name="connsiteX78" fmla="*/ 4131728 w 12192000"/>
              <a:gd name="connsiteY78" fmla="*/ 1322978 h 3378280"/>
              <a:gd name="connsiteX79" fmla="*/ 4193827 w 12192000"/>
              <a:gd name="connsiteY79" fmla="*/ 1350222 h 3378280"/>
              <a:gd name="connsiteX80" fmla="*/ 4286157 w 12192000"/>
              <a:gd name="connsiteY80" fmla="*/ 1385101 h 3378280"/>
              <a:gd name="connsiteX81" fmla="*/ 4298907 w 12192000"/>
              <a:gd name="connsiteY81" fmla="*/ 1394396 h 3378280"/>
              <a:gd name="connsiteX82" fmla="*/ 4323224 w 12192000"/>
              <a:gd name="connsiteY82" fmla="*/ 1403133 h 3378280"/>
              <a:gd name="connsiteX83" fmla="*/ 4404439 w 12192000"/>
              <a:gd name="connsiteY83" fmla="*/ 1417252 h 3378280"/>
              <a:gd name="connsiteX84" fmla="*/ 4423989 w 12192000"/>
              <a:gd name="connsiteY84" fmla="*/ 1410448 h 3378280"/>
              <a:gd name="connsiteX85" fmla="*/ 4427300 w 12192000"/>
              <a:gd name="connsiteY85" fmla="*/ 1409068 h 3378280"/>
              <a:gd name="connsiteX86" fmla="*/ 4441847 w 12192000"/>
              <a:gd name="connsiteY86" fmla="*/ 1408029 h 3378280"/>
              <a:gd name="connsiteX87" fmla="*/ 4444331 w 12192000"/>
              <a:gd name="connsiteY87" fmla="*/ 1402133 h 3378280"/>
              <a:gd name="connsiteX88" fmla="*/ 4492293 w 12192000"/>
              <a:gd name="connsiteY88" fmla="*/ 1396205 h 3378280"/>
              <a:gd name="connsiteX89" fmla="*/ 4623335 w 12192000"/>
              <a:gd name="connsiteY89" fmla="*/ 1400793 h 3378280"/>
              <a:gd name="connsiteX90" fmla="*/ 4700790 w 12192000"/>
              <a:gd name="connsiteY90" fmla="*/ 1399970 h 3378280"/>
              <a:gd name="connsiteX91" fmla="*/ 4728732 w 12192000"/>
              <a:gd name="connsiteY91" fmla="*/ 1394050 h 3378280"/>
              <a:gd name="connsiteX92" fmla="*/ 4768749 w 12192000"/>
              <a:gd name="connsiteY92" fmla="*/ 1389553 h 3378280"/>
              <a:gd name="connsiteX93" fmla="*/ 4838227 w 12192000"/>
              <a:gd name="connsiteY93" fmla="*/ 1377273 h 3378280"/>
              <a:gd name="connsiteX94" fmla="*/ 4904889 w 12192000"/>
              <a:gd name="connsiteY94" fmla="*/ 1373499 h 3378280"/>
              <a:gd name="connsiteX95" fmla="*/ 4949597 w 12192000"/>
              <a:gd name="connsiteY95" fmla="*/ 1374085 h 3378280"/>
              <a:gd name="connsiteX96" fmla="*/ 4956064 w 12192000"/>
              <a:gd name="connsiteY96" fmla="*/ 1374603 h 3378280"/>
              <a:gd name="connsiteX97" fmla="*/ 5009322 w 12192000"/>
              <a:gd name="connsiteY97" fmla="*/ 1385751 h 3378280"/>
              <a:gd name="connsiteX98" fmla="*/ 5014476 w 12192000"/>
              <a:gd name="connsiteY98" fmla="*/ 1381460 h 3378280"/>
              <a:gd name="connsiteX99" fmla="*/ 5031428 w 12192000"/>
              <a:gd name="connsiteY99" fmla="*/ 1377570 h 3378280"/>
              <a:gd name="connsiteX100" fmla="*/ 5045619 w 12192000"/>
              <a:gd name="connsiteY100" fmla="*/ 1383532 h 3378280"/>
              <a:gd name="connsiteX101" fmla="*/ 5112635 w 12192000"/>
              <a:gd name="connsiteY101" fmla="*/ 1395891 h 3378280"/>
              <a:gd name="connsiteX102" fmla="*/ 5210851 w 12192000"/>
              <a:gd name="connsiteY102" fmla="*/ 1408784 h 3378280"/>
              <a:gd name="connsiteX103" fmla="*/ 5225543 w 12192000"/>
              <a:gd name="connsiteY103" fmla="*/ 1414923 h 3378280"/>
              <a:gd name="connsiteX104" fmla="*/ 5321696 w 12192000"/>
              <a:gd name="connsiteY104" fmla="*/ 1432414 h 3378280"/>
              <a:gd name="connsiteX105" fmla="*/ 5372327 w 12192000"/>
              <a:gd name="connsiteY105" fmla="*/ 1436597 h 3378280"/>
              <a:gd name="connsiteX106" fmla="*/ 5378149 w 12192000"/>
              <a:gd name="connsiteY106" fmla="*/ 1431785 h 3378280"/>
              <a:gd name="connsiteX107" fmla="*/ 5393069 w 12192000"/>
              <a:gd name="connsiteY107" fmla="*/ 1433737 h 3378280"/>
              <a:gd name="connsiteX108" fmla="*/ 5527621 w 12192000"/>
              <a:gd name="connsiteY108" fmla="*/ 1458786 h 3378280"/>
              <a:gd name="connsiteX109" fmla="*/ 5680585 w 12192000"/>
              <a:gd name="connsiteY109" fmla="*/ 1498233 h 3378280"/>
              <a:gd name="connsiteX110" fmla="*/ 5783795 w 12192000"/>
              <a:gd name="connsiteY110" fmla="*/ 1499932 h 3378280"/>
              <a:gd name="connsiteX111" fmla="*/ 6016525 w 12192000"/>
              <a:gd name="connsiteY111" fmla="*/ 1577292 h 3378280"/>
              <a:gd name="connsiteX112" fmla="*/ 6186598 w 12192000"/>
              <a:gd name="connsiteY112" fmla="*/ 1606065 h 3378280"/>
              <a:gd name="connsiteX113" fmla="*/ 6197872 w 12192000"/>
              <a:gd name="connsiteY113" fmla="*/ 1616845 h 3378280"/>
              <a:gd name="connsiteX114" fmla="*/ 6212885 w 12192000"/>
              <a:gd name="connsiteY114" fmla="*/ 1624535 h 3378280"/>
              <a:gd name="connsiteX115" fmla="*/ 6319240 w 12192000"/>
              <a:gd name="connsiteY115" fmla="*/ 1660375 h 3378280"/>
              <a:gd name="connsiteX116" fmla="*/ 6333397 w 12192000"/>
              <a:gd name="connsiteY116" fmla="*/ 1658763 h 3378280"/>
              <a:gd name="connsiteX117" fmla="*/ 6357266 w 12192000"/>
              <a:gd name="connsiteY117" fmla="*/ 1659543 h 3378280"/>
              <a:gd name="connsiteX118" fmla="*/ 6418740 w 12192000"/>
              <a:gd name="connsiteY118" fmla="*/ 1648944 h 3378280"/>
              <a:gd name="connsiteX119" fmla="*/ 6458877 w 12192000"/>
              <a:gd name="connsiteY119" fmla="*/ 1662117 h 3378280"/>
              <a:gd name="connsiteX120" fmla="*/ 6467254 w 12192000"/>
              <a:gd name="connsiteY120" fmla="*/ 1664227 h 3378280"/>
              <a:gd name="connsiteX121" fmla="*/ 6467545 w 12192000"/>
              <a:gd name="connsiteY121" fmla="*/ 1664046 h 3378280"/>
              <a:gd name="connsiteX122" fmla="*/ 6476635 w 12192000"/>
              <a:gd name="connsiteY122" fmla="*/ 1665826 h 3378280"/>
              <a:gd name="connsiteX123" fmla="*/ 6482535 w 12192000"/>
              <a:gd name="connsiteY123" fmla="*/ 1668074 h 3378280"/>
              <a:gd name="connsiteX124" fmla="*/ 6498791 w 12192000"/>
              <a:gd name="connsiteY124" fmla="*/ 1672167 h 3378280"/>
              <a:gd name="connsiteX125" fmla="*/ 6505220 w 12192000"/>
              <a:gd name="connsiteY125" fmla="*/ 1672092 h 3378280"/>
              <a:gd name="connsiteX126" fmla="*/ 6508969 w 12192000"/>
              <a:gd name="connsiteY126" fmla="*/ 1669922 h 3378280"/>
              <a:gd name="connsiteX127" fmla="*/ 6544886 w 12192000"/>
              <a:gd name="connsiteY127" fmla="*/ 1670695 h 3378280"/>
              <a:gd name="connsiteX128" fmla="*/ 6617859 w 12192000"/>
              <a:gd name="connsiteY128" fmla="*/ 1679453 h 3378280"/>
              <a:gd name="connsiteX129" fmla="*/ 6657726 w 12192000"/>
              <a:gd name="connsiteY129" fmla="*/ 1687906 h 3378280"/>
              <a:gd name="connsiteX130" fmla="*/ 6769041 w 12192000"/>
              <a:gd name="connsiteY130" fmla="*/ 1707304 h 3378280"/>
              <a:gd name="connsiteX131" fmla="*/ 6882368 w 12192000"/>
              <a:gd name="connsiteY131" fmla="*/ 1723914 h 3378280"/>
              <a:gd name="connsiteX132" fmla="*/ 6968822 w 12192000"/>
              <a:gd name="connsiteY132" fmla="*/ 1723334 h 3378280"/>
              <a:gd name="connsiteX133" fmla="*/ 6973672 w 12192000"/>
              <a:gd name="connsiteY133" fmla="*/ 1726298 h 3378280"/>
              <a:gd name="connsiteX134" fmla="*/ 6981961 w 12192000"/>
              <a:gd name="connsiteY134" fmla="*/ 1729324 h 3378280"/>
              <a:gd name="connsiteX135" fmla="*/ 6982342 w 12192000"/>
              <a:gd name="connsiteY135" fmla="*/ 1729201 h 3378280"/>
              <a:gd name="connsiteX136" fmla="*/ 6989757 w 12192000"/>
              <a:gd name="connsiteY136" fmla="*/ 1732420 h 3378280"/>
              <a:gd name="connsiteX137" fmla="*/ 7023794 w 12192000"/>
              <a:gd name="connsiteY137" fmla="*/ 1750660 h 3378280"/>
              <a:gd name="connsiteX138" fmla="*/ 7090828 w 12192000"/>
              <a:gd name="connsiteY138" fmla="*/ 1750287 h 3378280"/>
              <a:gd name="connsiteX139" fmla="*/ 7114479 w 12192000"/>
              <a:gd name="connsiteY139" fmla="*/ 1754649 h 3378280"/>
              <a:gd name="connsiteX140" fmla="*/ 7162053 w 12192000"/>
              <a:gd name="connsiteY140" fmla="*/ 1772908 h 3378280"/>
              <a:gd name="connsiteX141" fmla="*/ 7167808 w 12192000"/>
              <a:gd name="connsiteY141" fmla="*/ 1773656 h 3378280"/>
              <a:gd name="connsiteX142" fmla="*/ 7187185 w 12192000"/>
              <a:gd name="connsiteY142" fmla="*/ 1787148 h 3378280"/>
              <a:gd name="connsiteX143" fmla="*/ 7216505 w 12192000"/>
              <a:gd name="connsiteY143" fmla="*/ 1804489 h 3378280"/>
              <a:gd name="connsiteX144" fmla="*/ 7219246 w 12192000"/>
              <a:gd name="connsiteY144" fmla="*/ 1804514 h 3378280"/>
              <a:gd name="connsiteX145" fmla="*/ 7230639 w 12192000"/>
              <a:gd name="connsiteY145" fmla="*/ 1813879 h 3378280"/>
              <a:gd name="connsiteX146" fmla="*/ 7236776 w 12192000"/>
              <a:gd name="connsiteY146" fmla="*/ 1825514 h 3378280"/>
              <a:gd name="connsiteX147" fmla="*/ 7394082 w 12192000"/>
              <a:gd name="connsiteY147" fmla="*/ 1877925 h 3378280"/>
              <a:gd name="connsiteX148" fmla="*/ 7505820 w 12192000"/>
              <a:gd name="connsiteY148" fmla="*/ 1933859 h 3378280"/>
              <a:gd name="connsiteX149" fmla="*/ 7572147 w 12192000"/>
              <a:gd name="connsiteY149" fmla="*/ 2003817 h 3378280"/>
              <a:gd name="connsiteX150" fmla="*/ 7828975 w 12192000"/>
              <a:gd name="connsiteY150" fmla="*/ 2061508 h 3378280"/>
              <a:gd name="connsiteX151" fmla="*/ 7886804 w 12192000"/>
              <a:gd name="connsiteY151" fmla="*/ 2075509 h 3378280"/>
              <a:gd name="connsiteX152" fmla="*/ 7923558 w 12192000"/>
              <a:gd name="connsiteY152" fmla="*/ 2103529 h 3378280"/>
              <a:gd name="connsiteX153" fmla="*/ 7947954 w 12192000"/>
              <a:gd name="connsiteY153" fmla="*/ 2104996 h 3378280"/>
              <a:gd name="connsiteX154" fmla="*/ 7952318 w 12192000"/>
              <a:gd name="connsiteY154" fmla="*/ 2105077 h 3378280"/>
              <a:gd name="connsiteX155" fmla="*/ 7966398 w 12192000"/>
              <a:gd name="connsiteY155" fmla="*/ 2109147 h 3378280"/>
              <a:gd name="connsiteX156" fmla="*/ 7974591 w 12192000"/>
              <a:gd name="connsiteY156" fmla="*/ 2105612 h 3378280"/>
              <a:gd name="connsiteX157" fmla="*/ 7998806 w 12192000"/>
              <a:gd name="connsiteY157" fmla="*/ 2108382 h 3378280"/>
              <a:gd name="connsiteX158" fmla="*/ 8023544 w 12192000"/>
              <a:gd name="connsiteY158" fmla="*/ 2117183 h 3378280"/>
              <a:gd name="connsiteX159" fmla="*/ 8136247 w 12192000"/>
              <a:gd name="connsiteY159" fmla="*/ 2164190 h 3378280"/>
              <a:gd name="connsiteX160" fmla="*/ 8206445 w 12192000"/>
              <a:gd name="connsiteY160" fmla="*/ 2189356 h 3378280"/>
              <a:gd name="connsiteX161" fmla="*/ 8237464 w 12192000"/>
              <a:gd name="connsiteY161" fmla="*/ 2194272 h 3378280"/>
              <a:gd name="connsiteX162" fmla="*/ 8277853 w 12192000"/>
              <a:gd name="connsiteY162" fmla="*/ 2204259 h 3378280"/>
              <a:gd name="connsiteX163" fmla="*/ 8352501 w 12192000"/>
              <a:gd name="connsiteY163" fmla="*/ 2218290 h 3378280"/>
              <a:gd name="connsiteX164" fmla="*/ 8446938 w 12192000"/>
              <a:gd name="connsiteY164" fmla="*/ 2243393 h 3378280"/>
              <a:gd name="connsiteX165" fmla="*/ 8497138 w 12192000"/>
              <a:gd name="connsiteY165" fmla="*/ 2281506 h 3378280"/>
              <a:gd name="connsiteX166" fmla="*/ 8506096 w 12192000"/>
              <a:gd name="connsiteY166" fmla="*/ 2280042 h 3378280"/>
              <a:gd name="connsiteX167" fmla="*/ 8549806 w 12192000"/>
              <a:gd name="connsiteY167" fmla="*/ 2296675 h 3378280"/>
              <a:gd name="connsiteX168" fmla="*/ 8680256 w 12192000"/>
              <a:gd name="connsiteY168" fmla="*/ 2378758 h 3378280"/>
              <a:gd name="connsiteX169" fmla="*/ 8766301 w 12192000"/>
              <a:gd name="connsiteY169" fmla="*/ 2410605 h 3378280"/>
              <a:gd name="connsiteX170" fmla="*/ 8800492 w 12192000"/>
              <a:gd name="connsiteY170" fmla="*/ 2418067 h 3378280"/>
              <a:gd name="connsiteX171" fmla="*/ 8857555 w 12192000"/>
              <a:gd name="connsiteY171" fmla="*/ 2430810 h 3378280"/>
              <a:gd name="connsiteX172" fmla="*/ 8951967 w 12192000"/>
              <a:gd name="connsiteY172" fmla="*/ 2460856 h 3378280"/>
              <a:gd name="connsiteX173" fmla="*/ 9002970 w 12192000"/>
              <a:gd name="connsiteY173" fmla="*/ 2472291 h 3378280"/>
              <a:gd name="connsiteX174" fmla="*/ 9081613 w 12192000"/>
              <a:gd name="connsiteY174" fmla="*/ 2488296 h 3378280"/>
              <a:gd name="connsiteX175" fmla="*/ 9091561 w 12192000"/>
              <a:gd name="connsiteY175" fmla="*/ 2494386 h 3378280"/>
              <a:gd name="connsiteX176" fmla="*/ 9140625 w 12192000"/>
              <a:gd name="connsiteY176" fmla="*/ 2486779 h 3378280"/>
              <a:gd name="connsiteX177" fmla="*/ 9271105 w 12192000"/>
              <a:gd name="connsiteY177" fmla="*/ 2511730 h 3378280"/>
              <a:gd name="connsiteX178" fmla="*/ 9295023 w 12192000"/>
              <a:gd name="connsiteY178" fmla="*/ 2512830 h 3378280"/>
              <a:gd name="connsiteX179" fmla="*/ 9321673 w 12192000"/>
              <a:gd name="connsiteY179" fmla="*/ 2524119 h 3378280"/>
              <a:gd name="connsiteX180" fmla="*/ 9378975 w 12192000"/>
              <a:gd name="connsiteY180" fmla="*/ 2543803 h 3378280"/>
              <a:gd name="connsiteX181" fmla="*/ 9414193 w 12192000"/>
              <a:gd name="connsiteY181" fmla="*/ 2562927 h 3378280"/>
              <a:gd name="connsiteX182" fmla="*/ 9426009 w 12192000"/>
              <a:gd name="connsiteY182" fmla="*/ 2558847 h 3378280"/>
              <a:gd name="connsiteX183" fmla="*/ 9450634 w 12192000"/>
              <a:gd name="connsiteY183" fmla="*/ 2560685 h 3378280"/>
              <a:gd name="connsiteX184" fmla="*/ 9549097 w 12192000"/>
              <a:gd name="connsiteY184" fmla="*/ 2585168 h 3378280"/>
              <a:gd name="connsiteX185" fmla="*/ 9567633 w 12192000"/>
              <a:gd name="connsiteY185" fmla="*/ 2587105 h 3378280"/>
              <a:gd name="connsiteX186" fmla="*/ 9586878 w 12192000"/>
              <a:gd name="connsiteY186" fmla="*/ 2596659 h 3378280"/>
              <a:gd name="connsiteX187" fmla="*/ 9589974 w 12192000"/>
              <a:gd name="connsiteY187" fmla="*/ 2598235 h 3378280"/>
              <a:gd name="connsiteX188" fmla="*/ 9590570 w 12192000"/>
              <a:gd name="connsiteY188" fmla="*/ 2598249 h 3378280"/>
              <a:gd name="connsiteX189" fmla="*/ 9591896 w 12192000"/>
              <a:gd name="connsiteY189" fmla="*/ 2599214 h 3378280"/>
              <a:gd name="connsiteX190" fmla="*/ 9604535 w 12192000"/>
              <a:gd name="connsiteY190" fmla="*/ 2605654 h 3378280"/>
              <a:gd name="connsiteX191" fmla="*/ 9610554 w 12192000"/>
              <a:gd name="connsiteY191" fmla="*/ 2606189 h 3378280"/>
              <a:gd name="connsiteX192" fmla="*/ 9690072 w 12192000"/>
              <a:gd name="connsiteY192" fmla="*/ 2638745 h 3378280"/>
              <a:gd name="connsiteX193" fmla="*/ 9726964 w 12192000"/>
              <a:gd name="connsiteY193" fmla="*/ 2653728 h 3378280"/>
              <a:gd name="connsiteX194" fmla="*/ 9738036 w 12192000"/>
              <a:gd name="connsiteY194" fmla="*/ 2654794 h 3378280"/>
              <a:gd name="connsiteX195" fmla="*/ 9774202 w 12192000"/>
              <a:gd name="connsiteY195" fmla="*/ 2671509 h 3378280"/>
              <a:gd name="connsiteX196" fmla="*/ 9793246 w 12192000"/>
              <a:gd name="connsiteY196" fmla="*/ 2675245 h 3378280"/>
              <a:gd name="connsiteX197" fmla="*/ 9890301 w 12192000"/>
              <a:gd name="connsiteY197" fmla="*/ 2700274 h 3378280"/>
              <a:gd name="connsiteX198" fmla="*/ 9915070 w 12192000"/>
              <a:gd name="connsiteY198" fmla="*/ 2699250 h 3378280"/>
              <a:gd name="connsiteX199" fmla="*/ 9976517 w 12192000"/>
              <a:gd name="connsiteY199" fmla="*/ 2732899 h 3378280"/>
              <a:gd name="connsiteX200" fmla="*/ 9990168 w 12192000"/>
              <a:gd name="connsiteY200" fmla="*/ 2737877 h 3378280"/>
              <a:gd name="connsiteX201" fmla="*/ 9995041 w 12192000"/>
              <a:gd name="connsiteY201" fmla="*/ 2741223 h 3378280"/>
              <a:gd name="connsiteX202" fmla="*/ 10012636 w 12192000"/>
              <a:gd name="connsiteY202" fmla="*/ 2729876 h 3378280"/>
              <a:gd name="connsiteX203" fmla="*/ 10044280 w 12192000"/>
              <a:gd name="connsiteY203" fmla="*/ 2726966 h 3378280"/>
              <a:gd name="connsiteX204" fmla="*/ 10057934 w 12192000"/>
              <a:gd name="connsiteY204" fmla="*/ 2735671 h 3378280"/>
              <a:gd name="connsiteX205" fmla="*/ 10148373 w 12192000"/>
              <a:gd name="connsiteY205" fmla="*/ 2778987 h 3378280"/>
              <a:gd name="connsiteX206" fmla="*/ 10176601 w 12192000"/>
              <a:gd name="connsiteY206" fmla="*/ 2791940 h 3378280"/>
              <a:gd name="connsiteX207" fmla="*/ 10235082 w 12192000"/>
              <a:gd name="connsiteY207" fmla="*/ 2816761 h 3378280"/>
              <a:gd name="connsiteX208" fmla="*/ 10421684 w 12192000"/>
              <a:gd name="connsiteY208" fmla="*/ 2833871 h 3378280"/>
              <a:gd name="connsiteX209" fmla="*/ 10507376 w 12192000"/>
              <a:gd name="connsiteY209" fmla="*/ 2822262 h 3378280"/>
              <a:gd name="connsiteX210" fmla="*/ 10738376 w 12192000"/>
              <a:gd name="connsiteY210" fmla="*/ 2833353 h 3378280"/>
              <a:gd name="connsiteX211" fmla="*/ 11043443 w 12192000"/>
              <a:gd name="connsiteY211" fmla="*/ 2803954 h 3378280"/>
              <a:gd name="connsiteX212" fmla="*/ 11115269 w 12192000"/>
              <a:gd name="connsiteY212" fmla="*/ 2823367 h 3378280"/>
              <a:gd name="connsiteX213" fmla="*/ 11147582 w 12192000"/>
              <a:gd name="connsiteY213" fmla="*/ 2822547 h 3378280"/>
              <a:gd name="connsiteX214" fmla="*/ 11201205 w 12192000"/>
              <a:gd name="connsiteY214" fmla="*/ 2818210 h 3378280"/>
              <a:gd name="connsiteX215" fmla="*/ 11391726 w 12192000"/>
              <a:gd name="connsiteY215" fmla="*/ 2826386 h 3378280"/>
              <a:gd name="connsiteX216" fmla="*/ 11507640 w 12192000"/>
              <a:gd name="connsiteY216" fmla="*/ 2824866 h 3378280"/>
              <a:gd name="connsiteX217" fmla="*/ 11718056 w 12192000"/>
              <a:gd name="connsiteY217" fmla="*/ 2821969 h 3378280"/>
              <a:gd name="connsiteX218" fmla="*/ 11937926 w 12192000"/>
              <a:gd name="connsiteY218" fmla="*/ 2817058 h 3378280"/>
              <a:gd name="connsiteX219" fmla="*/ 12035355 w 12192000"/>
              <a:gd name="connsiteY219" fmla="*/ 2813340 h 3378280"/>
              <a:gd name="connsiteX220" fmla="*/ 12179047 w 12192000"/>
              <a:gd name="connsiteY220" fmla="*/ 2788508 h 3378280"/>
              <a:gd name="connsiteX221" fmla="*/ 12192000 w 12192000"/>
              <a:gd name="connsiteY221" fmla="*/ 2788486 h 3378280"/>
              <a:gd name="connsiteX222" fmla="*/ 12192000 w 12192000"/>
              <a:gd name="connsiteY222" fmla="*/ 3378280 h 3378280"/>
              <a:gd name="connsiteX223" fmla="*/ 0 w 12192000"/>
              <a:gd name="connsiteY223" fmla="*/ 3378280 h 3378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</a:cxnLst>
            <a:rect l="l" t="t" r="r" b="b"/>
            <a:pathLst>
              <a:path w="12192000" h="3378280">
                <a:moveTo>
                  <a:pt x="0" y="0"/>
                </a:moveTo>
                <a:lnTo>
                  <a:pt x="13973" y="3431"/>
                </a:lnTo>
                <a:cubicBezTo>
                  <a:pt x="48258" y="17773"/>
                  <a:pt x="68757" y="59402"/>
                  <a:pt x="86774" y="43536"/>
                </a:cubicBezTo>
                <a:cubicBezTo>
                  <a:pt x="86532" y="72023"/>
                  <a:pt x="217976" y="120568"/>
                  <a:pt x="229780" y="145557"/>
                </a:cubicBezTo>
                <a:lnTo>
                  <a:pt x="302639" y="203425"/>
                </a:lnTo>
                <a:cubicBezTo>
                  <a:pt x="312906" y="207200"/>
                  <a:pt x="342855" y="184923"/>
                  <a:pt x="348081" y="187174"/>
                </a:cubicBezTo>
                <a:lnTo>
                  <a:pt x="436950" y="184066"/>
                </a:lnTo>
                <a:lnTo>
                  <a:pt x="501693" y="233225"/>
                </a:lnTo>
                <a:lnTo>
                  <a:pt x="557201" y="312390"/>
                </a:lnTo>
                <a:cubicBezTo>
                  <a:pt x="579844" y="353675"/>
                  <a:pt x="602207" y="315301"/>
                  <a:pt x="617648" y="333897"/>
                </a:cubicBezTo>
                <a:lnTo>
                  <a:pt x="692332" y="386327"/>
                </a:lnTo>
                <a:cubicBezTo>
                  <a:pt x="715261" y="398377"/>
                  <a:pt x="770477" y="414831"/>
                  <a:pt x="802009" y="419027"/>
                </a:cubicBezTo>
                <a:cubicBezTo>
                  <a:pt x="838953" y="433876"/>
                  <a:pt x="886385" y="473956"/>
                  <a:pt x="914003" y="475419"/>
                </a:cubicBezTo>
                <a:cubicBezTo>
                  <a:pt x="923483" y="477324"/>
                  <a:pt x="931440" y="475817"/>
                  <a:pt x="938561" y="472887"/>
                </a:cubicBezTo>
                <a:lnTo>
                  <a:pt x="1035683" y="486697"/>
                </a:lnTo>
                <a:cubicBezTo>
                  <a:pt x="1035708" y="486708"/>
                  <a:pt x="1035733" y="486720"/>
                  <a:pt x="1035757" y="486731"/>
                </a:cubicBezTo>
                <a:cubicBezTo>
                  <a:pt x="1046500" y="494574"/>
                  <a:pt x="1038533" y="500311"/>
                  <a:pt x="1074336" y="494465"/>
                </a:cubicBezTo>
                <a:cubicBezTo>
                  <a:pt x="1137289" y="530436"/>
                  <a:pt x="1235340" y="545106"/>
                  <a:pt x="1285084" y="589112"/>
                </a:cubicBezTo>
                <a:cubicBezTo>
                  <a:pt x="1341251" y="608873"/>
                  <a:pt x="1367674" y="637988"/>
                  <a:pt x="1409116" y="656332"/>
                </a:cubicBezTo>
                <a:cubicBezTo>
                  <a:pt x="1471208" y="682449"/>
                  <a:pt x="1492207" y="692779"/>
                  <a:pt x="1533725" y="699179"/>
                </a:cubicBezTo>
                <a:cubicBezTo>
                  <a:pt x="1592391" y="718911"/>
                  <a:pt x="1575207" y="737633"/>
                  <a:pt x="1636242" y="741533"/>
                </a:cubicBezTo>
                <a:cubicBezTo>
                  <a:pt x="1638264" y="746130"/>
                  <a:pt x="1700806" y="766849"/>
                  <a:pt x="1704848" y="770749"/>
                </a:cubicBezTo>
                <a:lnTo>
                  <a:pt x="1718292" y="781051"/>
                </a:lnTo>
                <a:lnTo>
                  <a:pt x="1720835" y="781117"/>
                </a:lnTo>
                <a:lnTo>
                  <a:pt x="1753341" y="800301"/>
                </a:lnTo>
                <a:lnTo>
                  <a:pt x="1775454" y="815182"/>
                </a:lnTo>
                <a:lnTo>
                  <a:pt x="1781011" y="816068"/>
                </a:lnTo>
                <a:lnTo>
                  <a:pt x="1817738" y="834926"/>
                </a:lnTo>
                <a:cubicBezTo>
                  <a:pt x="1821156" y="833953"/>
                  <a:pt x="1825209" y="834074"/>
                  <a:pt x="1830702" y="836485"/>
                </a:cubicBezTo>
                <a:cubicBezTo>
                  <a:pt x="1832151" y="819591"/>
                  <a:pt x="1837883" y="832919"/>
                  <a:pt x="1853950" y="841519"/>
                </a:cubicBezTo>
                <a:cubicBezTo>
                  <a:pt x="1859780" y="817198"/>
                  <a:pt x="1899456" y="849599"/>
                  <a:pt x="1915890" y="841983"/>
                </a:cubicBezTo>
                <a:lnTo>
                  <a:pt x="1960900" y="865789"/>
                </a:lnTo>
                <a:lnTo>
                  <a:pt x="1961217" y="865662"/>
                </a:lnTo>
                <a:cubicBezTo>
                  <a:pt x="1963265" y="866017"/>
                  <a:pt x="1965977" y="867037"/>
                  <a:pt x="1969825" y="869049"/>
                </a:cubicBezTo>
                <a:lnTo>
                  <a:pt x="1975234" y="872329"/>
                </a:lnTo>
                <a:lnTo>
                  <a:pt x="1990485" y="879288"/>
                </a:lnTo>
                <a:lnTo>
                  <a:pt x="1996793" y="880361"/>
                </a:lnTo>
                <a:cubicBezTo>
                  <a:pt x="2020465" y="879540"/>
                  <a:pt x="2023446" y="845377"/>
                  <a:pt x="2055091" y="872818"/>
                </a:cubicBezTo>
                <a:cubicBezTo>
                  <a:pt x="2098055" y="882341"/>
                  <a:pt x="2125216" y="870433"/>
                  <a:pt x="2165143" y="892293"/>
                </a:cubicBezTo>
                <a:cubicBezTo>
                  <a:pt x="2205365" y="901134"/>
                  <a:pt x="2239987" y="901455"/>
                  <a:pt x="2274196" y="914768"/>
                </a:cubicBezTo>
                <a:cubicBezTo>
                  <a:pt x="2310666" y="921868"/>
                  <a:pt x="2360104" y="931320"/>
                  <a:pt x="2383986" y="934891"/>
                </a:cubicBezTo>
                <a:lnTo>
                  <a:pt x="2420278" y="933890"/>
                </a:lnTo>
                <a:lnTo>
                  <a:pt x="2426203" y="933891"/>
                </a:lnTo>
                <a:lnTo>
                  <a:pt x="2448674" y="941056"/>
                </a:lnTo>
                <a:cubicBezTo>
                  <a:pt x="2452907" y="942503"/>
                  <a:pt x="2455711" y="943098"/>
                  <a:pt x="2457640" y="943105"/>
                </a:cubicBezTo>
                <a:lnTo>
                  <a:pt x="2457852" y="942912"/>
                </a:lnTo>
                <a:lnTo>
                  <a:pt x="2466265" y="945310"/>
                </a:lnTo>
                <a:cubicBezTo>
                  <a:pt x="2480470" y="949908"/>
                  <a:pt x="2494307" y="954915"/>
                  <a:pt x="2507496" y="960111"/>
                </a:cubicBezTo>
                <a:cubicBezTo>
                  <a:pt x="2518208" y="949036"/>
                  <a:pt x="2567155" y="976345"/>
                  <a:pt x="2561127" y="949411"/>
                </a:cubicBezTo>
                <a:cubicBezTo>
                  <a:pt x="2578896" y="955660"/>
                  <a:pt x="2589900" y="968806"/>
                  <a:pt x="2583467" y="950570"/>
                </a:cubicBezTo>
                <a:cubicBezTo>
                  <a:pt x="2589300" y="952141"/>
                  <a:pt x="2592850" y="951536"/>
                  <a:pt x="2595361" y="949884"/>
                </a:cubicBezTo>
                <a:lnTo>
                  <a:pt x="2596075" y="949000"/>
                </a:lnTo>
                <a:lnTo>
                  <a:pt x="2666638" y="975095"/>
                </a:lnTo>
                <a:lnTo>
                  <a:pt x="2703393" y="989635"/>
                </a:lnTo>
                <a:lnTo>
                  <a:pt x="2705616" y="989244"/>
                </a:lnTo>
                <a:lnTo>
                  <a:pt x="2721898" y="997777"/>
                </a:lnTo>
                <a:cubicBezTo>
                  <a:pt x="2727157" y="1001198"/>
                  <a:pt x="2731840" y="1005088"/>
                  <a:pt x="2735669" y="1009612"/>
                </a:cubicBezTo>
                <a:cubicBezTo>
                  <a:pt x="2790086" y="1002732"/>
                  <a:pt x="2797958" y="1020231"/>
                  <a:pt x="2857526" y="1030627"/>
                </a:cubicBezTo>
                <a:cubicBezTo>
                  <a:pt x="2897602" y="1063034"/>
                  <a:pt x="2965720" y="1083366"/>
                  <a:pt x="3021918" y="1088093"/>
                </a:cubicBezTo>
                <a:cubicBezTo>
                  <a:pt x="3054425" y="1110664"/>
                  <a:pt x="3109014" y="1101433"/>
                  <a:pt x="3155458" y="1121618"/>
                </a:cubicBezTo>
                <a:cubicBezTo>
                  <a:pt x="3217017" y="1136576"/>
                  <a:pt x="3270135" y="1143600"/>
                  <a:pt x="3328229" y="1155903"/>
                </a:cubicBezTo>
                <a:cubicBezTo>
                  <a:pt x="3365862" y="1138978"/>
                  <a:pt x="3408797" y="1179981"/>
                  <a:pt x="3448440" y="1184343"/>
                </a:cubicBezTo>
                <a:cubicBezTo>
                  <a:pt x="3438226" y="1205566"/>
                  <a:pt x="3496361" y="1182183"/>
                  <a:pt x="3499287" y="1209472"/>
                </a:cubicBezTo>
                <a:cubicBezTo>
                  <a:pt x="3506411" y="1209402"/>
                  <a:pt x="3513215" y="1208473"/>
                  <a:pt x="3520027" y="1207338"/>
                </a:cubicBezTo>
                <a:lnTo>
                  <a:pt x="3523594" y="1206755"/>
                </a:lnTo>
                <a:lnTo>
                  <a:pt x="3538013" y="1209066"/>
                </a:lnTo>
                <a:lnTo>
                  <a:pt x="3541918" y="1203922"/>
                </a:lnTo>
                <a:cubicBezTo>
                  <a:pt x="3550592" y="1203930"/>
                  <a:pt x="3560995" y="1202529"/>
                  <a:pt x="3590082" y="1209115"/>
                </a:cubicBezTo>
                <a:cubicBezTo>
                  <a:pt x="3622244" y="1230604"/>
                  <a:pt x="3676827" y="1215544"/>
                  <a:pt x="3716445" y="1243431"/>
                </a:cubicBezTo>
                <a:cubicBezTo>
                  <a:pt x="3731486" y="1251699"/>
                  <a:pt x="3780926" y="1265146"/>
                  <a:pt x="3792028" y="1260288"/>
                </a:cubicBezTo>
                <a:cubicBezTo>
                  <a:pt x="3802696" y="1261567"/>
                  <a:pt x="3814066" y="1267606"/>
                  <a:pt x="3820707" y="1260924"/>
                </a:cubicBezTo>
                <a:cubicBezTo>
                  <a:pt x="3830836" y="1253486"/>
                  <a:pt x="3863215" y="1278527"/>
                  <a:pt x="3860784" y="1265692"/>
                </a:cubicBezTo>
                <a:lnTo>
                  <a:pt x="3997310" y="1281176"/>
                </a:lnTo>
                <a:lnTo>
                  <a:pt x="4040665" y="1291934"/>
                </a:lnTo>
                <a:lnTo>
                  <a:pt x="4046831" y="1293910"/>
                </a:lnTo>
                <a:lnTo>
                  <a:pt x="4095847" y="1316851"/>
                </a:lnTo>
                <a:cubicBezTo>
                  <a:pt x="4097518" y="1315619"/>
                  <a:pt x="4099569" y="1314612"/>
                  <a:pt x="4101945" y="1313869"/>
                </a:cubicBezTo>
                <a:lnTo>
                  <a:pt x="4119420" y="1313965"/>
                </a:lnTo>
                <a:lnTo>
                  <a:pt x="4131728" y="1322978"/>
                </a:lnTo>
                <a:lnTo>
                  <a:pt x="4193827" y="1350222"/>
                </a:lnTo>
                <a:lnTo>
                  <a:pt x="4286157" y="1385101"/>
                </a:lnTo>
                <a:lnTo>
                  <a:pt x="4298907" y="1394396"/>
                </a:lnTo>
                <a:lnTo>
                  <a:pt x="4323224" y="1403133"/>
                </a:lnTo>
                <a:lnTo>
                  <a:pt x="4404439" y="1417252"/>
                </a:lnTo>
                <a:cubicBezTo>
                  <a:pt x="4411321" y="1415560"/>
                  <a:pt x="4417679" y="1413105"/>
                  <a:pt x="4423989" y="1410448"/>
                </a:cubicBezTo>
                <a:lnTo>
                  <a:pt x="4427300" y="1409068"/>
                </a:lnTo>
                <a:lnTo>
                  <a:pt x="4441847" y="1408029"/>
                </a:lnTo>
                <a:lnTo>
                  <a:pt x="4444331" y="1402133"/>
                </a:lnTo>
                <a:cubicBezTo>
                  <a:pt x="4452739" y="1400163"/>
                  <a:pt x="4462460" y="1396428"/>
                  <a:pt x="4492293" y="1396205"/>
                </a:cubicBezTo>
                <a:cubicBezTo>
                  <a:pt x="4528861" y="1409788"/>
                  <a:pt x="4577933" y="1382688"/>
                  <a:pt x="4623335" y="1400793"/>
                </a:cubicBezTo>
                <a:cubicBezTo>
                  <a:pt x="4639986" y="1405413"/>
                  <a:pt x="4691262" y="1407228"/>
                  <a:pt x="4700790" y="1399970"/>
                </a:cubicBezTo>
                <a:cubicBezTo>
                  <a:pt x="4711447" y="1398782"/>
                  <a:pt x="4723982" y="1402066"/>
                  <a:pt x="4728732" y="1394050"/>
                </a:cubicBezTo>
                <a:cubicBezTo>
                  <a:pt x="4736666" y="1384502"/>
                  <a:pt x="4774338" y="1401491"/>
                  <a:pt x="4768749" y="1389553"/>
                </a:cubicBezTo>
                <a:cubicBezTo>
                  <a:pt x="4795495" y="1401233"/>
                  <a:pt x="4816075" y="1381410"/>
                  <a:pt x="4838227" y="1377273"/>
                </a:cubicBezTo>
                <a:lnTo>
                  <a:pt x="4904889" y="1373499"/>
                </a:lnTo>
                <a:lnTo>
                  <a:pt x="4949597" y="1374085"/>
                </a:lnTo>
                <a:lnTo>
                  <a:pt x="4956064" y="1374603"/>
                </a:lnTo>
                <a:lnTo>
                  <a:pt x="5009322" y="1385751"/>
                </a:lnTo>
                <a:cubicBezTo>
                  <a:pt x="5010629" y="1384171"/>
                  <a:pt x="5012363" y="1382724"/>
                  <a:pt x="5014476" y="1381460"/>
                </a:cubicBezTo>
                <a:lnTo>
                  <a:pt x="5031428" y="1377570"/>
                </a:lnTo>
                <a:lnTo>
                  <a:pt x="5045619" y="1383532"/>
                </a:lnTo>
                <a:lnTo>
                  <a:pt x="5112635" y="1395891"/>
                </a:lnTo>
                <a:lnTo>
                  <a:pt x="5210851" y="1408784"/>
                </a:lnTo>
                <a:lnTo>
                  <a:pt x="5225543" y="1414923"/>
                </a:lnTo>
                <a:cubicBezTo>
                  <a:pt x="5259311" y="1422389"/>
                  <a:pt x="5300520" y="1417803"/>
                  <a:pt x="5321696" y="1432414"/>
                </a:cubicBezTo>
                <a:lnTo>
                  <a:pt x="5372327" y="1436597"/>
                </a:lnTo>
                <a:lnTo>
                  <a:pt x="5378149" y="1431785"/>
                </a:lnTo>
                <a:lnTo>
                  <a:pt x="5393069" y="1433737"/>
                </a:lnTo>
                <a:lnTo>
                  <a:pt x="5527621" y="1458786"/>
                </a:lnTo>
                <a:cubicBezTo>
                  <a:pt x="5595913" y="1482782"/>
                  <a:pt x="5624062" y="1464011"/>
                  <a:pt x="5680585" y="1498233"/>
                </a:cubicBezTo>
                <a:cubicBezTo>
                  <a:pt x="5671953" y="1485766"/>
                  <a:pt x="5763880" y="1493019"/>
                  <a:pt x="5783795" y="1499932"/>
                </a:cubicBezTo>
                <a:cubicBezTo>
                  <a:pt x="5806935" y="1511749"/>
                  <a:pt x="5950173" y="1559636"/>
                  <a:pt x="6016525" y="1577292"/>
                </a:cubicBezTo>
                <a:cubicBezTo>
                  <a:pt x="6077908" y="1586145"/>
                  <a:pt x="6125458" y="1613138"/>
                  <a:pt x="6186598" y="1606065"/>
                </a:cubicBezTo>
                <a:cubicBezTo>
                  <a:pt x="6189351" y="1610205"/>
                  <a:pt x="6193226" y="1613745"/>
                  <a:pt x="6197872" y="1616845"/>
                </a:cubicBezTo>
                <a:lnTo>
                  <a:pt x="6212885" y="1624535"/>
                </a:lnTo>
                <a:lnTo>
                  <a:pt x="6319240" y="1660375"/>
                </a:lnTo>
                <a:lnTo>
                  <a:pt x="6333397" y="1658763"/>
                </a:lnTo>
                <a:cubicBezTo>
                  <a:pt x="6332062" y="1641958"/>
                  <a:pt x="6339931" y="1653989"/>
                  <a:pt x="6357266" y="1659543"/>
                </a:cubicBezTo>
                <a:cubicBezTo>
                  <a:pt x="6359058" y="1634684"/>
                  <a:pt x="6403697" y="1659337"/>
                  <a:pt x="6418740" y="1648944"/>
                </a:cubicBezTo>
                <a:cubicBezTo>
                  <a:pt x="6431434" y="1653585"/>
                  <a:pt x="6444892" y="1658041"/>
                  <a:pt x="6458877" y="1662117"/>
                </a:cubicBezTo>
                <a:lnTo>
                  <a:pt x="6467254" y="1664227"/>
                </a:lnTo>
                <a:lnTo>
                  <a:pt x="6467545" y="1664046"/>
                </a:lnTo>
                <a:cubicBezTo>
                  <a:pt x="6469635" y="1664026"/>
                  <a:pt x="6472488" y="1664540"/>
                  <a:pt x="6476635" y="1665826"/>
                </a:cubicBezTo>
                <a:lnTo>
                  <a:pt x="6482535" y="1668074"/>
                </a:lnTo>
                <a:lnTo>
                  <a:pt x="6498791" y="1672167"/>
                </a:lnTo>
                <a:lnTo>
                  <a:pt x="6505220" y="1672092"/>
                </a:lnTo>
                <a:lnTo>
                  <a:pt x="6508969" y="1669922"/>
                </a:lnTo>
                <a:lnTo>
                  <a:pt x="6544886" y="1670695"/>
                </a:lnTo>
                <a:cubicBezTo>
                  <a:pt x="6566195" y="1684748"/>
                  <a:pt x="6578985" y="1674687"/>
                  <a:pt x="6617859" y="1679453"/>
                </a:cubicBezTo>
                <a:cubicBezTo>
                  <a:pt x="6628154" y="1690316"/>
                  <a:pt x="6642041" y="1690691"/>
                  <a:pt x="6657726" y="1687906"/>
                </a:cubicBezTo>
                <a:cubicBezTo>
                  <a:pt x="6690709" y="1699790"/>
                  <a:pt x="6728158" y="1699639"/>
                  <a:pt x="6769041" y="1707304"/>
                </a:cubicBezTo>
                <a:cubicBezTo>
                  <a:pt x="6805580" y="1727028"/>
                  <a:pt x="6838723" y="1715650"/>
                  <a:pt x="6882368" y="1723914"/>
                </a:cubicBezTo>
                <a:lnTo>
                  <a:pt x="6968822" y="1723334"/>
                </a:lnTo>
                <a:lnTo>
                  <a:pt x="6973672" y="1726298"/>
                </a:lnTo>
                <a:cubicBezTo>
                  <a:pt x="6977223" y="1728111"/>
                  <a:pt x="6979851" y="1729020"/>
                  <a:pt x="6981961" y="1729324"/>
                </a:cubicBezTo>
                <a:lnTo>
                  <a:pt x="6982342" y="1729201"/>
                </a:lnTo>
                <a:lnTo>
                  <a:pt x="6989757" y="1732420"/>
                </a:lnTo>
                <a:cubicBezTo>
                  <a:pt x="7001869" y="1738303"/>
                  <a:pt x="7013262" y="1744453"/>
                  <a:pt x="7023794" y="1750660"/>
                </a:cubicBezTo>
                <a:cubicBezTo>
                  <a:pt x="7043973" y="1743394"/>
                  <a:pt x="7076983" y="1772878"/>
                  <a:pt x="7090828" y="1750287"/>
                </a:cubicBezTo>
                <a:cubicBezTo>
                  <a:pt x="7105590" y="1758041"/>
                  <a:pt x="7107688" y="1770308"/>
                  <a:pt x="7114479" y="1754649"/>
                </a:cubicBezTo>
                <a:cubicBezTo>
                  <a:pt x="7126350" y="1758420"/>
                  <a:pt x="7153167" y="1769741"/>
                  <a:pt x="7162053" y="1772908"/>
                </a:cubicBezTo>
                <a:lnTo>
                  <a:pt x="7167808" y="1773656"/>
                </a:lnTo>
                <a:lnTo>
                  <a:pt x="7187185" y="1787148"/>
                </a:lnTo>
                <a:lnTo>
                  <a:pt x="7216505" y="1804489"/>
                </a:lnTo>
                <a:lnTo>
                  <a:pt x="7219246" y="1804514"/>
                </a:lnTo>
                <a:lnTo>
                  <a:pt x="7230639" y="1813879"/>
                </a:lnTo>
                <a:cubicBezTo>
                  <a:pt x="7233815" y="1817438"/>
                  <a:pt x="7236006" y="1821285"/>
                  <a:pt x="7236776" y="1825514"/>
                </a:cubicBezTo>
                <a:cubicBezTo>
                  <a:pt x="7301762" y="1828337"/>
                  <a:pt x="7336564" y="1860417"/>
                  <a:pt x="7394082" y="1877925"/>
                </a:cubicBezTo>
                <a:cubicBezTo>
                  <a:pt x="7452342" y="1904287"/>
                  <a:pt x="7466551" y="1917411"/>
                  <a:pt x="7505820" y="1933859"/>
                </a:cubicBezTo>
                <a:cubicBezTo>
                  <a:pt x="7522528" y="1943253"/>
                  <a:pt x="7574803" y="2016599"/>
                  <a:pt x="7572147" y="2003817"/>
                </a:cubicBezTo>
                <a:cubicBezTo>
                  <a:pt x="7612486" y="2043915"/>
                  <a:pt x="7771831" y="2029022"/>
                  <a:pt x="7828975" y="2061508"/>
                </a:cubicBezTo>
                <a:lnTo>
                  <a:pt x="7886804" y="2075509"/>
                </a:lnTo>
                <a:cubicBezTo>
                  <a:pt x="7859463" y="2091010"/>
                  <a:pt x="7941076" y="2081130"/>
                  <a:pt x="7923558" y="2103529"/>
                </a:cubicBezTo>
                <a:lnTo>
                  <a:pt x="7947954" y="2104996"/>
                </a:lnTo>
                <a:lnTo>
                  <a:pt x="7952318" y="2105077"/>
                </a:lnTo>
                <a:lnTo>
                  <a:pt x="7966398" y="2109147"/>
                </a:lnTo>
                <a:lnTo>
                  <a:pt x="7974591" y="2105612"/>
                </a:lnTo>
                <a:lnTo>
                  <a:pt x="7998806" y="2108382"/>
                </a:lnTo>
                <a:cubicBezTo>
                  <a:pt x="8007224" y="2110145"/>
                  <a:pt x="8015519" y="2112885"/>
                  <a:pt x="8023544" y="2117183"/>
                </a:cubicBezTo>
                <a:cubicBezTo>
                  <a:pt x="8042536" y="2139405"/>
                  <a:pt x="8113922" y="2135674"/>
                  <a:pt x="8136247" y="2164190"/>
                </a:cubicBezTo>
                <a:cubicBezTo>
                  <a:pt x="8146485" y="2173150"/>
                  <a:pt x="8190564" y="2191557"/>
                  <a:pt x="8206445" y="2189356"/>
                </a:cubicBezTo>
                <a:cubicBezTo>
                  <a:pt x="8217189" y="2192022"/>
                  <a:pt x="8225092" y="2198625"/>
                  <a:pt x="8237464" y="2194272"/>
                </a:cubicBezTo>
                <a:cubicBezTo>
                  <a:pt x="8254235" y="2189840"/>
                  <a:pt x="8270768" y="2214957"/>
                  <a:pt x="8277853" y="2204259"/>
                </a:cubicBezTo>
                <a:cubicBezTo>
                  <a:pt x="8289971" y="2221808"/>
                  <a:pt x="8328475" y="2213978"/>
                  <a:pt x="8352501" y="2218290"/>
                </a:cubicBezTo>
                <a:cubicBezTo>
                  <a:pt x="8359916" y="2233716"/>
                  <a:pt x="8403014" y="2227555"/>
                  <a:pt x="8446938" y="2243393"/>
                </a:cubicBezTo>
                <a:cubicBezTo>
                  <a:pt x="8454511" y="2260801"/>
                  <a:pt x="8476684" y="2253935"/>
                  <a:pt x="8497138" y="2281506"/>
                </a:cubicBezTo>
                <a:cubicBezTo>
                  <a:pt x="8499906" y="2280770"/>
                  <a:pt x="8502925" y="2280276"/>
                  <a:pt x="8506096" y="2280042"/>
                </a:cubicBezTo>
                <a:cubicBezTo>
                  <a:pt x="8524529" y="2278674"/>
                  <a:pt x="8544098" y="2286123"/>
                  <a:pt x="8549806" y="2296675"/>
                </a:cubicBezTo>
                <a:cubicBezTo>
                  <a:pt x="8586026" y="2337107"/>
                  <a:pt x="8636988" y="2356250"/>
                  <a:pt x="8680256" y="2378758"/>
                </a:cubicBezTo>
                <a:cubicBezTo>
                  <a:pt x="8731302" y="2402123"/>
                  <a:pt x="8717522" y="2366494"/>
                  <a:pt x="8766301" y="2410605"/>
                </a:cubicBezTo>
                <a:cubicBezTo>
                  <a:pt x="8780965" y="2405907"/>
                  <a:pt x="8789790" y="2408871"/>
                  <a:pt x="8800492" y="2418067"/>
                </a:cubicBezTo>
                <a:cubicBezTo>
                  <a:pt x="8825856" y="2428860"/>
                  <a:pt x="8842594" y="2409144"/>
                  <a:pt x="8857555" y="2430810"/>
                </a:cubicBezTo>
                <a:cubicBezTo>
                  <a:pt x="8882799" y="2437942"/>
                  <a:pt x="8927730" y="2453942"/>
                  <a:pt x="8951967" y="2460856"/>
                </a:cubicBezTo>
                <a:cubicBezTo>
                  <a:pt x="8978331" y="2469875"/>
                  <a:pt x="8959838" y="2488515"/>
                  <a:pt x="9002970" y="2472291"/>
                </a:cubicBezTo>
                <a:cubicBezTo>
                  <a:pt x="9023997" y="2488383"/>
                  <a:pt x="9039735" y="2479669"/>
                  <a:pt x="9081613" y="2488296"/>
                </a:cubicBezTo>
                <a:lnTo>
                  <a:pt x="9091561" y="2494386"/>
                </a:lnTo>
                <a:lnTo>
                  <a:pt x="9140625" y="2486779"/>
                </a:lnTo>
                <a:cubicBezTo>
                  <a:pt x="9207053" y="2531245"/>
                  <a:pt x="9151264" y="2467994"/>
                  <a:pt x="9271105" y="2511730"/>
                </a:cubicBezTo>
                <a:cubicBezTo>
                  <a:pt x="9275764" y="2517275"/>
                  <a:pt x="9293352" y="2518083"/>
                  <a:pt x="9295023" y="2512830"/>
                </a:cubicBezTo>
                <a:cubicBezTo>
                  <a:pt x="9301933" y="2516606"/>
                  <a:pt x="9314623" y="2531276"/>
                  <a:pt x="9321673" y="2524119"/>
                </a:cubicBezTo>
                <a:cubicBezTo>
                  <a:pt x="9341881" y="2529408"/>
                  <a:pt x="9361130" y="2536033"/>
                  <a:pt x="9378975" y="2543803"/>
                </a:cubicBezTo>
                <a:lnTo>
                  <a:pt x="9414193" y="2562927"/>
                </a:lnTo>
                <a:lnTo>
                  <a:pt x="9426009" y="2558847"/>
                </a:lnTo>
                <a:cubicBezTo>
                  <a:pt x="9433598" y="2557225"/>
                  <a:pt x="9441714" y="2557145"/>
                  <a:pt x="9450634" y="2560685"/>
                </a:cubicBezTo>
                <a:cubicBezTo>
                  <a:pt x="9496298" y="2596479"/>
                  <a:pt x="9461586" y="2547391"/>
                  <a:pt x="9549097" y="2585168"/>
                </a:cubicBezTo>
                <a:cubicBezTo>
                  <a:pt x="9551956" y="2589460"/>
                  <a:pt x="9565592" y="2590888"/>
                  <a:pt x="9567633" y="2587105"/>
                </a:cubicBezTo>
                <a:cubicBezTo>
                  <a:pt x="9572507" y="2590206"/>
                  <a:pt x="9580361" y="2601581"/>
                  <a:pt x="9586878" y="2596659"/>
                </a:cubicBezTo>
                <a:lnTo>
                  <a:pt x="9589974" y="2598235"/>
                </a:lnTo>
                <a:lnTo>
                  <a:pt x="9590570" y="2598249"/>
                </a:lnTo>
                <a:lnTo>
                  <a:pt x="9591896" y="2599214"/>
                </a:lnTo>
                <a:lnTo>
                  <a:pt x="9604535" y="2605654"/>
                </a:lnTo>
                <a:lnTo>
                  <a:pt x="9610554" y="2606189"/>
                </a:lnTo>
                <a:cubicBezTo>
                  <a:pt x="9641361" y="2613359"/>
                  <a:pt x="9668752" y="2624572"/>
                  <a:pt x="9690072" y="2638745"/>
                </a:cubicBezTo>
                <a:cubicBezTo>
                  <a:pt x="9723195" y="2641319"/>
                  <a:pt x="9726446" y="2647335"/>
                  <a:pt x="9726964" y="2653728"/>
                </a:cubicBezTo>
                <a:cubicBezTo>
                  <a:pt x="9734958" y="2656403"/>
                  <a:pt x="9731670" y="2653170"/>
                  <a:pt x="9738036" y="2654794"/>
                </a:cubicBezTo>
                <a:cubicBezTo>
                  <a:pt x="9745908" y="2657757"/>
                  <a:pt x="9765000" y="2668100"/>
                  <a:pt x="9774202" y="2671509"/>
                </a:cubicBezTo>
                <a:lnTo>
                  <a:pt x="9793246" y="2675245"/>
                </a:lnTo>
                <a:cubicBezTo>
                  <a:pt x="9812596" y="2680039"/>
                  <a:pt x="9869995" y="2696274"/>
                  <a:pt x="9890301" y="2700274"/>
                </a:cubicBezTo>
                <a:cubicBezTo>
                  <a:pt x="9900631" y="2696314"/>
                  <a:pt x="9908572" y="2696560"/>
                  <a:pt x="9915070" y="2699250"/>
                </a:cubicBezTo>
                <a:lnTo>
                  <a:pt x="9976517" y="2732899"/>
                </a:lnTo>
                <a:cubicBezTo>
                  <a:pt x="9981869" y="2727000"/>
                  <a:pt x="9984699" y="2731165"/>
                  <a:pt x="9990168" y="2737877"/>
                </a:cubicBezTo>
                <a:lnTo>
                  <a:pt x="9995041" y="2741223"/>
                </a:lnTo>
                <a:lnTo>
                  <a:pt x="10012636" y="2729876"/>
                </a:lnTo>
                <a:lnTo>
                  <a:pt x="10044280" y="2726966"/>
                </a:lnTo>
                <a:lnTo>
                  <a:pt x="10057934" y="2735671"/>
                </a:lnTo>
                <a:cubicBezTo>
                  <a:pt x="10075281" y="2744341"/>
                  <a:pt x="10128594" y="2769607"/>
                  <a:pt x="10148373" y="2778987"/>
                </a:cubicBezTo>
                <a:lnTo>
                  <a:pt x="10176601" y="2791940"/>
                </a:lnTo>
                <a:cubicBezTo>
                  <a:pt x="10185319" y="2817937"/>
                  <a:pt x="10238746" y="2788423"/>
                  <a:pt x="10235082" y="2816761"/>
                </a:cubicBezTo>
                <a:cubicBezTo>
                  <a:pt x="10261478" y="2797979"/>
                  <a:pt x="10382486" y="2835579"/>
                  <a:pt x="10421684" y="2833871"/>
                </a:cubicBezTo>
                <a:cubicBezTo>
                  <a:pt x="10427369" y="2846480"/>
                  <a:pt x="10490893" y="2829473"/>
                  <a:pt x="10507376" y="2822262"/>
                </a:cubicBezTo>
                <a:cubicBezTo>
                  <a:pt x="10633551" y="2812985"/>
                  <a:pt x="10703974" y="2842678"/>
                  <a:pt x="10738376" y="2833353"/>
                </a:cubicBezTo>
                <a:cubicBezTo>
                  <a:pt x="10827719" y="2830304"/>
                  <a:pt x="10976757" y="2802522"/>
                  <a:pt x="11043443" y="2803954"/>
                </a:cubicBezTo>
                <a:cubicBezTo>
                  <a:pt x="11049567" y="2823106"/>
                  <a:pt x="11121061" y="2794142"/>
                  <a:pt x="11115269" y="2823367"/>
                </a:cubicBezTo>
                <a:cubicBezTo>
                  <a:pt x="11122168" y="2835110"/>
                  <a:pt x="11139334" y="2833959"/>
                  <a:pt x="11147582" y="2822547"/>
                </a:cubicBezTo>
                <a:cubicBezTo>
                  <a:pt x="11168093" y="2823815"/>
                  <a:pt x="11180424" y="2837446"/>
                  <a:pt x="11201205" y="2818210"/>
                </a:cubicBezTo>
                <a:cubicBezTo>
                  <a:pt x="11229430" y="2819282"/>
                  <a:pt x="11368539" y="2855696"/>
                  <a:pt x="11391726" y="2826386"/>
                </a:cubicBezTo>
                <a:cubicBezTo>
                  <a:pt x="11480791" y="2839198"/>
                  <a:pt x="11451058" y="2820936"/>
                  <a:pt x="11507640" y="2824866"/>
                </a:cubicBezTo>
                <a:cubicBezTo>
                  <a:pt x="11607733" y="2861658"/>
                  <a:pt x="11671908" y="2815146"/>
                  <a:pt x="11718056" y="2821969"/>
                </a:cubicBezTo>
                <a:cubicBezTo>
                  <a:pt x="11816707" y="2792061"/>
                  <a:pt x="11860087" y="2819031"/>
                  <a:pt x="11937926" y="2817058"/>
                </a:cubicBezTo>
                <a:cubicBezTo>
                  <a:pt x="11973607" y="2824139"/>
                  <a:pt x="11989529" y="2794506"/>
                  <a:pt x="12035355" y="2813340"/>
                </a:cubicBezTo>
                <a:cubicBezTo>
                  <a:pt x="12062147" y="2782988"/>
                  <a:pt x="12154841" y="2795794"/>
                  <a:pt x="12179047" y="2788508"/>
                </a:cubicBezTo>
                <a:lnTo>
                  <a:pt x="12192000" y="2788486"/>
                </a:lnTo>
                <a:lnTo>
                  <a:pt x="12192000" y="3378280"/>
                </a:lnTo>
                <a:lnTo>
                  <a:pt x="0" y="337828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AAD5E66-DBE5-5D55-4308-4C0209CC1C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02114" y="2039254"/>
            <a:ext cx="7387772" cy="2206171"/>
          </a:xfrm>
        </p:spPr>
        <p:txBody>
          <a:bodyPr anchor="ctr">
            <a:normAutofit fontScale="90000"/>
          </a:bodyPr>
          <a:lstStyle/>
          <a:p>
            <a:r>
              <a:rPr lang="en-US" sz="52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roiect</a:t>
            </a:r>
            <a:r>
              <a:rPr lang="en-US" sz="5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br>
              <a:rPr lang="en-US" sz="5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52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Retele</a:t>
            </a:r>
            <a:r>
              <a:rPr lang="en-US" sz="5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52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eurale</a:t>
            </a:r>
            <a:br>
              <a:rPr lang="en-US" sz="5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52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LP</a:t>
            </a:r>
            <a:endParaRPr lang="de-DE" sz="5200" b="1" i="1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43CDDEB-1519-DEF5-C6E6-0E0267CFB85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92628" y="5158522"/>
            <a:ext cx="5689601" cy="1087477"/>
          </a:xfrm>
        </p:spPr>
        <p:txBody>
          <a:bodyPr anchor="ctr">
            <a:normAutofit/>
          </a:bodyPr>
          <a:lstStyle/>
          <a:p>
            <a:pPr algn="l"/>
            <a:r>
              <a:rPr lang="ro-RO" sz="1800" dirty="0">
                <a:solidFill>
                  <a:schemeClr val="tx1"/>
                </a:solidFill>
              </a:rPr>
              <a:t>Șandru Timotei</a:t>
            </a:r>
            <a:endParaRPr lang="en-US" sz="1800" dirty="0">
              <a:solidFill>
                <a:schemeClr val="tx1"/>
              </a:solidFill>
            </a:endParaRPr>
          </a:p>
          <a:p>
            <a:pPr algn="l"/>
            <a:r>
              <a:rPr lang="en-US" sz="1800" dirty="0">
                <a:solidFill>
                  <a:schemeClr val="tx1"/>
                </a:solidFill>
              </a:rPr>
              <a:t>St</a:t>
            </a:r>
            <a:r>
              <a:rPr lang="ro-RO" sz="1800" dirty="0">
                <a:solidFill>
                  <a:schemeClr val="tx1"/>
                </a:solidFill>
              </a:rPr>
              <a:t>ăncete Miha</a:t>
            </a:r>
            <a:endParaRPr lang="de-DE" sz="18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AEFD2FD1-B3A5-4E1D-BCC8-7684A5440C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4890051" y="0"/>
            <a:ext cx="7301949" cy="918344"/>
          </a:xfrm>
          <a:custGeom>
            <a:avLst/>
            <a:gdLst>
              <a:gd name="connsiteX0" fmla="*/ 4686423 w 9517857"/>
              <a:gd name="connsiteY0" fmla="*/ 247919 h 918356"/>
              <a:gd name="connsiteX1" fmla="*/ 4689051 w 9517857"/>
              <a:gd name="connsiteY1" fmla="*/ 250968 h 918356"/>
              <a:gd name="connsiteX2" fmla="*/ 4687244 w 9517857"/>
              <a:gd name="connsiteY2" fmla="*/ 251298 h 918356"/>
              <a:gd name="connsiteX3" fmla="*/ 4685225 w 9517857"/>
              <a:gd name="connsiteY3" fmla="*/ 246530 h 918356"/>
              <a:gd name="connsiteX4" fmla="*/ 4686133 w 9517857"/>
              <a:gd name="connsiteY4" fmla="*/ 246727 h 918356"/>
              <a:gd name="connsiteX5" fmla="*/ 4686423 w 9517857"/>
              <a:gd name="connsiteY5" fmla="*/ 247919 h 918356"/>
              <a:gd name="connsiteX6" fmla="*/ 9517856 w 9517857"/>
              <a:gd name="connsiteY6" fmla="*/ 0 h 918356"/>
              <a:gd name="connsiteX7" fmla="*/ 9517857 w 9517857"/>
              <a:gd name="connsiteY7" fmla="*/ 12 h 918356"/>
              <a:gd name="connsiteX8" fmla="*/ 9517857 w 9517857"/>
              <a:gd name="connsiteY8" fmla="*/ 918356 h 918356"/>
              <a:gd name="connsiteX9" fmla="*/ 14604 w 9517857"/>
              <a:gd name="connsiteY9" fmla="*/ 918356 h 918356"/>
              <a:gd name="connsiteX10" fmla="*/ 12841 w 9517857"/>
              <a:gd name="connsiteY10" fmla="*/ 917763 h 918356"/>
              <a:gd name="connsiteX11" fmla="*/ 93 w 9517857"/>
              <a:gd name="connsiteY11" fmla="*/ 912471 h 918356"/>
              <a:gd name="connsiteX12" fmla="*/ 58674 w 9517857"/>
              <a:gd name="connsiteY12" fmla="*/ 890322 h 918356"/>
              <a:gd name="connsiteX13" fmla="*/ 275005 w 9517857"/>
              <a:gd name="connsiteY13" fmla="*/ 807229 h 918356"/>
              <a:gd name="connsiteX14" fmla="*/ 587824 w 9517857"/>
              <a:gd name="connsiteY14" fmla="*/ 798195 h 918356"/>
              <a:gd name="connsiteX15" fmla="*/ 651826 w 9517857"/>
              <a:gd name="connsiteY15" fmla="*/ 738338 h 918356"/>
              <a:gd name="connsiteX16" fmla="*/ 727985 w 9517857"/>
              <a:gd name="connsiteY16" fmla="*/ 719826 h 918356"/>
              <a:gd name="connsiteX17" fmla="*/ 778982 w 9517857"/>
              <a:gd name="connsiteY17" fmla="*/ 710142 h 918356"/>
              <a:gd name="connsiteX18" fmla="*/ 849944 w 9517857"/>
              <a:gd name="connsiteY18" fmla="*/ 717987 h 918356"/>
              <a:gd name="connsiteX19" fmla="*/ 921659 w 9517857"/>
              <a:gd name="connsiteY19" fmla="*/ 712695 h 918356"/>
              <a:gd name="connsiteX20" fmla="*/ 930946 w 9517857"/>
              <a:gd name="connsiteY20" fmla="*/ 734046 h 918356"/>
              <a:gd name="connsiteX21" fmla="*/ 986250 w 9517857"/>
              <a:gd name="connsiteY21" fmla="*/ 713530 h 918356"/>
              <a:gd name="connsiteX22" fmla="*/ 1013752 w 9517857"/>
              <a:gd name="connsiteY22" fmla="*/ 713361 h 918356"/>
              <a:gd name="connsiteX23" fmla="*/ 1023734 w 9517857"/>
              <a:gd name="connsiteY23" fmla="*/ 718571 h 918356"/>
              <a:gd name="connsiteX24" fmla="*/ 1063207 w 9517857"/>
              <a:gd name="connsiteY24" fmla="*/ 715651 h 918356"/>
              <a:gd name="connsiteX25" fmla="*/ 1081980 w 9517857"/>
              <a:gd name="connsiteY25" fmla="*/ 738455 h 918356"/>
              <a:gd name="connsiteX26" fmla="*/ 1218120 w 9517857"/>
              <a:gd name="connsiteY26" fmla="*/ 713280 h 918356"/>
              <a:gd name="connsiteX27" fmla="*/ 1397459 w 9517857"/>
              <a:gd name="connsiteY27" fmla="*/ 691190 h 918356"/>
              <a:gd name="connsiteX28" fmla="*/ 1580688 w 9517857"/>
              <a:gd name="connsiteY28" fmla="*/ 693697 h 918356"/>
              <a:gd name="connsiteX29" fmla="*/ 1772334 w 9517857"/>
              <a:gd name="connsiteY29" fmla="*/ 710640 h 918356"/>
              <a:gd name="connsiteX30" fmla="*/ 2002561 w 9517857"/>
              <a:gd name="connsiteY30" fmla="*/ 659917 h 918356"/>
              <a:gd name="connsiteX31" fmla="*/ 2135144 w 9517857"/>
              <a:gd name="connsiteY31" fmla="*/ 636501 h 918356"/>
              <a:gd name="connsiteX32" fmla="*/ 2440292 w 9517857"/>
              <a:gd name="connsiteY32" fmla="*/ 593862 h 918356"/>
              <a:gd name="connsiteX33" fmla="*/ 2547829 w 9517857"/>
              <a:gd name="connsiteY33" fmla="*/ 566150 h 918356"/>
              <a:gd name="connsiteX34" fmla="*/ 2658055 w 9517857"/>
              <a:gd name="connsiteY34" fmla="*/ 578727 h 918356"/>
              <a:gd name="connsiteX35" fmla="*/ 2693698 w 9517857"/>
              <a:gd name="connsiteY35" fmla="*/ 560029 h 918356"/>
              <a:gd name="connsiteX36" fmla="*/ 2699673 w 9517857"/>
              <a:gd name="connsiteY36" fmla="*/ 556400 h 918356"/>
              <a:gd name="connsiteX37" fmla="*/ 2727306 w 9517857"/>
              <a:gd name="connsiteY37" fmla="*/ 550698 h 918356"/>
              <a:gd name="connsiteX38" fmla="*/ 2730451 w 9517857"/>
              <a:gd name="connsiteY38" fmla="*/ 538058 h 918356"/>
              <a:gd name="connsiteX39" fmla="*/ 2768713 w 9517857"/>
              <a:gd name="connsiteY39" fmla="*/ 521575 h 918356"/>
              <a:gd name="connsiteX40" fmla="*/ 2820868 w 9517857"/>
              <a:gd name="connsiteY40" fmla="*/ 514160 h 918356"/>
              <a:gd name="connsiteX41" fmla="*/ 3073635 w 9517857"/>
              <a:gd name="connsiteY41" fmla="*/ 491294 h 918356"/>
              <a:gd name="connsiteX42" fmla="*/ 3222071 w 9517857"/>
              <a:gd name="connsiteY42" fmla="*/ 470559 h 918356"/>
              <a:gd name="connsiteX43" fmla="*/ 3274069 w 9517857"/>
              <a:gd name="connsiteY43" fmla="*/ 451605 h 918356"/>
              <a:gd name="connsiteX44" fmla="*/ 3349632 w 9517857"/>
              <a:gd name="connsiteY44" fmla="*/ 432583 h 918356"/>
              <a:gd name="connsiteX45" fmla="*/ 3479593 w 9517857"/>
              <a:gd name="connsiteY45" fmla="*/ 390437 h 918356"/>
              <a:gd name="connsiteX46" fmla="*/ 3660110 w 9517857"/>
              <a:gd name="connsiteY46" fmla="*/ 348726 h 918356"/>
              <a:gd name="connsiteX47" fmla="*/ 3750023 w 9517857"/>
              <a:gd name="connsiteY47" fmla="*/ 370678 h 918356"/>
              <a:gd name="connsiteX48" fmla="*/ 3844133 w 9517857"/>
              <a:gd name="connsiteY48" fmla="*/ 360648 h 918356"/>
              <a:gd name="connsiteX49" fmla="*/ 3913545 w 9517857"/>
              <a:gd name="connsiteY49" fmla="*/ 344235 h 918356"/>
              <a:gd name="connsiteX50" fmla="*/ 4266740 w 9517857"/>
              <a:gd name="connsiteY50" fmla="*/ 361454 h 918356"/>
              <a:gd name="connsiteX51" fmla="*/ 4430770 w 9517857"/>
              <a:gd name="connsiteY51" fmla="*/ 342643 h 918356"/>
              <a:gd name="connsiteX52" fmla="*/ 4512664 w 9517857"/>
              <a:gd name="connsiteY52" fmla="*/ 319948 h 918356"/>
              <a:gd name="connsiteX53" fmla="*/ 4616423 w 9517857"/>
              <a:gd name="connsiteY53" fmla="*/ 290914 h 918356"/>
              <a:gd name="connsiteX54" fmla="*/ 4691675 w 9517857"/>
              <a:gd name="connsiteY54" fmla="*/ 254011 h 918356"/>
              <a:gd name="connsiteX55" fmla="*/ 4689051 w 9517857"/>
              <a:gd name="connsiteY55" fmla="*/ 250968 h 918356"/>
              <a:gd name="connsiteX56" fmla="*/ 4719994 w 9517857"/>
              <a:gd name="connsiteY56" fmla="*/ 245307 h 918356"/>
              <a:gd name="connsiteX57" fmla="*/ 4752894 w 9517857"/>
              <a:gd name="connsiteY57" fmla="*/ 239875 h 918356"/>
              <a:gd name="connsiteX58" fmla="*/ 4769329 w 9517857"/>
              <a:gd name="connsiteY58" fmla="*/ 233585 h 918356"/>
              <a:gd name="connsiteX59" fmla="*/ 4775634 w 9517857"/>
              <a:gd name="connsiteY59" fmla="*/ 234063 h 918356"/>
              <a:gd name="connsiteX60" fmla="*/ 4790452 w 9517857"/>
              <a:gd name="connsiteY60" fmla="*/ 233572 h 918356"/>
              <a:gd name="connsiteX61" fmla="*/ 4789062 w 9517857"/>
              <a:gd name="connsiteY61" fmla="*/ 241924 h 918356"/>
              <a:gd name="connsiteX62" fmla="*/ 4827826 w 9517857"/>
              <a:gd name="connsiteY62" fmla="*/ 246977 h 918356"/>
              <a:gd name="connsiteX63" fmla="*/ 4892569 w 9517857"/>
              <a:gd name="connsiteY63" fmla="*/ 249933 h 918356"/>
              <a:gd name="connsiteX64" fmla="*/ 4896611 w 9517857"/>
              <a:gd name="connsiteY64" fmla="*/ 240448 h 918356"/>
              <a:gd name="connsiteX65" fmla="*/ 4917286 w 9517857"/>
              <a:gd name="connsiteY65" fmla="*/ 243659 h 918356"/>
              <a:gd name="connsiteX66" fmla="*/ 4981173 w 9517857"/>
              <a:gd name="connsiteY66" fmla="*/ 247103 h 918356"/>
              <a:gd name="connsiteX67" fmla="*/ 5060397 w 9517857"/>
              <a:gd name="connsiteY67" fmla="*/ 263688 h 918356"/>
              <a:gd name="connsiteX68" fmla="*/ 5252996 w 9517857"/>
              <a:gd name="connsiteY68" fmla="*/ 270655 h 918356"/>
              <a:gd name="connsiteX69" fmla="*/ 5358056 w 9517857"/>
              <a:gd name="connsiteY69" fmla="*/ 247248 h 918356"/>
              <a:gd name="connsiteX70" fmla="*/ 5426496 w 9517857"/>
              <a:gd name="connsiteY70" fmla="*/ 235142 h 918356"/>
              <a:gd name="connsiteX71" fmla="*/ 5497161 w 9517857"/>
              <a:gd name="connsiteY71" fmla="*/ 228808 h 918356"/>
              <a:gd name="connsiteX72" fmla="*/ 5826043 w 9517857"/>
              <a:gd name="connsiteY72" fmla="*/ 148073 h 918356"/>
              <a:gd name="connsiteX73" fmla="*/ 6013415 w 9517857"/>
              <a:gd name="connsiteY73" fmla="*/ 137316 h 918356"/>
              <a:gd name="connsiteX74" fmla="*/ 6080994 w 9517857"/>
              <a:gd name="connsiteY74" fmla="*/ 142938 h 918356"/>
              <a:gd name="connsiteX75" fmla="*/ 6194152 w 9517857"/>
              <a:gd name="connsiteY75" fmla="*/ 151772 h 918356"/>
              <a:gd name="connsiteX76" fmla="*/ 6281379 w 9517857"/>
              <a:gd name="connsiteY76" fmla="*/ 181626 h 918356"/>
              <a:gd name="connsiteX77" fmla="*/ 6374947 w 9517857"/>
              <a:gd name="connsiteY77" fmla="*/ 179799 h 918356"/>
              <a:gd name="connsiteX78" fmla="*/ 6448518 w 9517857"/>
              <a:gd name="connsiteY78" fmla="*/ 164378 h 918356"/>
              <a:gd name="connsiteX79" fmla="*/ 6544700 w 9517857"/>
              <a:gd name="connsiteY79" fmla="*/ 167161 h 918356"/>
              <a:gd name="connsiteX80" fmla="*/ 6648353 w 9517857"/>
              <a:gd name="connsiteY80" fmla="*/ 172250 h 918356"/>
              <a:gd name="connsiteX81" fmla="*/ 6736227 w 9517857"/>
              <a:gd name="connsiteY81" fmla="*/ 173216 h 918356"/>
              <a:gd name="connsiteX82" fmla="*/ 6977218 w 9517857"/>
              <a:gd name="connsiteY82" fmla="*/ 184289 h 918356"/>
              <a:gd name="connsiteX83" fmla="*/ 7065221 w 9517857"/>
              <a:gd name="connsiteY83" fmla="*/ 227531 h 918356"/>
              <a:gd name="connsiteX84" fmla="*/ 7366876 w 9517857"/>
              <a:gd name="connsiteY84" fmla="*/ 248468 h 918356"/>
              <a:gd name="connsiteX85" fmla="*/ 7565449 w 9517857"/>
              <a:gd name="connsiteY85" fmla="*/ 258950 h 918356"/>
              <a:gd name="connsiteX86" fmla="*/ 7599285 w 9517857"/>
              <a:gd name="connsiteY86" fmla="*/ 266021 h 918356"/>
              <a:gd name="connsiteX87" fmla="*/ 7644411 w 9517857"/>
              <a:gd name="connsiteY87" fmla="*/ 258986 h 918356"/>
              <a:gd name="connsiteX88" fmla="*/ 7825110 w 9517857"/>
              <a:gd name="connsiteY88" fmla="*/ 229109 h 918356"/>
              <a:gd name="connsiteX89" fmla="*/ 7965804 w 9517857"/>
              <a:gd name="connsiteY89" fmla="*/ 190545 h 918356"/>
              <a:gd name="connsiteX90" fmla="*/ 8147401 w 9517857"/>
              <a:gd name="connsiteY90" fmla="*/ 205617 h 918356"/>
              <a:gd name="connsiteX91" fmla="*/ 8256033 w 9517857"/>
              <a:gd name="connsiteY91" fmla="*/ 193713 h 918356"/>
              <a:gd name="connsiteX92" fmla="*/ 8410677 w 9517857"/>
              <a:gd name="connsiteY92" fmla="*/ 172167 h 918356"/>
              <a:gd name="connsiteX93" fmla="*/ 8617841 w 9517857"/>
              <a:gd name="connsiteY93" fmla="*/ 155167 h 918356"/>
              <a:gd name="connsiteX94" fmla="*/ 8715976 w 9517857"/>
              <a:gd name="connsiteY94" fmla="*/ 178374 h 918356"/>
              <a:gd name="connsiteX95" fmla="*/ 8778827 w 9517857"/>
              <a:gd name="connsiteY95" fmla="*/ 172936 h 918356"/>
              <a:gd name="connsiteX96" fmla="*/ 8840778 w 9517857"/>
              <a:gd name="connsiteY96" fmla="*/ 143149 h 918356"/>
              <a:gd name="connsiteX97" fmla="*/ 9010380 w 9517857"/>
              <a:gd name="connsiteY97" fmla="*/ 91891 h 918356"/>
              <a:gd name="connsiteX98" fmla="*/ 9110856 w 9517857"/>
              <a:gd name="connsiteY98" fmla="*/ 70997 h 918356"/>
              <a:gd name="connsiteX99" fmla="*/ 9268817 w 9517857"/>
              <a:gd name="connsiteY99" fmla="*/ 53082 h 918356"/>
              <a:gd name="connsiteX100" fmla="*/ 9316667 w 9517857"/>
              <a:gd name="connsiteY100" fmla="*/ 45047 h 918356"/>
              <a:gd name="connsiteX101" fmla="*/ 9428209 w 9517857"/>
              <a:gd name="connsiteY101" fmla="*/ 29923 h 918356"/>
              <a:gd name="connsiteX0" fmla="*/ 4686423 w 9517857"/>
              <a:gd name="connsiteY0" fmla="*/ 247919 h 918356"/>
              <a:gd name="connsiteX1" fmla="*/ 4689051 w 9517857"/>
              <a:gd name="connsiteY1" fmla="*/ 250968 h 918356"/>
              <a:gd name="connsiteX2" fmla="*/ 4687244 w 9517857"/>
              <a:gd name="connsiteY2" fmla="*/ 251298 h 918356"/>
              <a:gd name="connsiteX3" fmla="*/ 4686423 w 9517857"/>
              <a:gd name="connsiteY3" fmla="*/ 247919 h 918356"/>
              <a:gd name="connsiteX4" fmla="*/ 4685225 w 9517857"/>
              <a:gd name="connsiteY4" fmla="*/ 246530 h 918356"/>
              <a:gd name="connsiteX5" fmla="*/ 4686133 w 9517857"/>
              <a:gd name="connsiteY5" fmla="*/ 246727 h 918356"/>
              <a:gd name="connsiteX6" fmla="*/ 4686423 w 9517857"/>
              <a:gd name="connsiteY6" fmla="*/ 247919 h 918356"/>
              <a:gd name="connsiteX7" fmla="*/ 4685225 w 9517857"/>
              <a:gd name="connsiteY7" fmla="*/ 246530 h 918356"/>
              <a:gd name="connsiteX8" fmla="*/ 9517856 w 9517857"/>
              <a:gd name="connsiteY8" fmla="*/ 0 h 918356"/>
              <a:gd name="connsiteX9" fmla="*/ 9517857 w 9517857"/>
              <a:gd name="connsiteY9" fmla="*/ 12 h 918356"/>
              <a:gd name="connsiteX10" fmla="*/ 9517857 w 9517857"/>
              <a:gd name="connsiteY10" fmla="*/ 918356 h 918356"/>
              <a:gd name="connsiteX11" fmla="*/ 14604 w 9517857"/>
              <a:gd name="connsiteY11" fmla="*/ 918356 h 918356"/>
              <a:gd name="connsiteX12" fmla="*/ 12841 w 9517857"/>
              <a:gd name="connsiteY12" fmla="*/ 917763 h 918356"/>
              <a:gd name="connsiteX13" fmla="*/ 93 w 9517857"/>
              <a:gd name="connsiteY13" fmla="*/ 912471 h 918356"/>
              <a:gd name="connsiteX14" fmla="*/ 58674 w 9517857"/>
              <a:gd name="connsiteY14" fmla="*/ 890322 h 918356"/>
              <a:gd name="connsiteX15" fmla="*/ 275005 w 9517857"/>
              <a:gd name="connsiteY15" fmla="*/ 807229 h 918356"/>
              <a:gd name="connsiteX16" fmla="*/ 587824 w 9517857"/>
              <a:gd name="connsiteY16" fmla="*/ 798195 h 918356"/>
              <a:gd name="connsiteX17" fmla="*/ 651826 w 9517857"/>
              <a:gd name="connsiteY17" fmla="*/ 738338 h 918356"/>
              <a:gd name="connsiteX18" fmla="*/ 727985 w 9517857"/>
              <a:gd name="connsiteY18" fmla="*/ 719826 h 918356"/>
              <a:gd name="connsiteX19" fmla="*/ 778982 w 9517857"/>
              <a:gd name="connsiteY19" fmla="*/ 710142 h 918356"/>
              <a:gd name="connsiteX20" fmla="*/ 849944 w 9517857"/>
              <a:gd name="connsiteY20" fmla="*/ 717987 h 918356"/>
              <a:gd name="connsiteX21" fmla="*/ 921659 w 9517857"/>
              <a:gd name="connsiteY21" fmla="*/ 712695 h 918356"/>
              <a:gd name="connsiteX22" fmla="*/ 930946 w 9517857"/>
              <a:gd name="connsiteY22" fmla="*/ 734046 h 918356"/>
              <a:gd name="connsiteX23" fmla="*/ 986250 w 9517857"/>
              <a:gd name="connsiteY23" fmla="*/ 713530 h 918356"/>
              <a:gd name="connsiteX24" fmla="*/ 1013752 w 9517857"/>
              <a:gd name="connsiteY24" fmla="*/ 713361 h 918356"/>
              <a:gd name="connsiteX25" fmla="*/ 1023734 w 9517857"/>
              <a:gd name="connsiteY25" fmla="*/ 718571 h 918356"/>
              <a:gd name="connsiteX26" fmla="*/ 1063207 w 9517857"/>
              <a:gd name="connsiteY26" fmla="*/ 715651 h 918356"/>
              <a:gd name="connsiteX27" fmla="*/ 1081980 w 9517857"/>
              <a:gd name="connsiteY27" fmla="*/ 738455 h 918356"/>
              <a:gd name="connsiteX28" fmla="*/ 1218120 w 9517857"/>
              <a:gd name="connsiteY28" fmla="*/ 713280 h 918356"/>
              <a:gd name="connsiteX29" fmla="*/ 1397459 w 9517857"/>
              <a:gd name="connsiteY29" fmla="*/ 691190 h 918356"/>
              <a:gd name="connsiteX30" fmla="*/ 1580688 w 9517857"/>
              <a:gd name="connsiteY30" fmla="*/ 693697 h 918356"/>
              <a:gd name="connsiteX31" fmla="*/ 1772334 w 9517857"/>
              <a:gd name="connsiteY31" fmla="*/ 710640 h 918356"/>
              <a:gd name="connsiteX32" fmla="*/ 2002561 w 9517857"/>
              <a:gd name="connsiteY32" fmla="*/ 659917 h 918356"/>
              <a:gd name="connsiteX33" fmla="*/ 2135144 w 9517857"/>
              <a:gd name="connsiteY33" fmla="*/ 636501 h 918356"/>
              <a:gd name="connsiteX34" fmla="*/ 2440292 w 9517857"/>
              <a:gd name="connsiteY34" fmla="*/ 593862 h 918356"/>
              <a:gd name="connsiteX35" fmla="*/ 2547829 w 9517857"/>
              <a:gd name="connsiteY35" fmla="*/ 566150 h 918356"/>
              <a:gd name="connsiteX36" fmla="*/ 2658055 w 9517857"/>
              <a:gd name="connsiteY36" fmla="*/ 578727 h 918356"/>
              <a:gd name="connsiteX37" fmla="*/ 2693698 w 9517857"/>
              <a:gd name="connsiteY37" fmla="*/ 560029 h 918356"/>
              <a:gd name="connsiteX38" fmla="*/ 2699673 w 9517857"/>
              <a:gd name="connsiteY38" fmla="*/ 556400 h 918356"/>
              <a:gd name="connsiteX39" fmla="*/ 2727306 w 9517857"/>
              <a:gd name="connsiteY39" fmla="*/ 550698 h 918356"/>
              <a:gd name="connsiteX40" fmla="*/ 2730451 w 9517857"/>
              <a:gd name="connsiteY40" fmla="*/ 538058 h 918356"/>
              <a:gd name="connsiteX41" fmla="*/ 2768713 w 9517857"/>
              <a:gd name="connsiteY41" fmla="*/ 521575 h 918356"/>
              <a:gd name="connsiteX42" fmla="*/ 2820868 w 9517857"/>
              <a:gd name="connsiteY42" fmla="*/ 514160 h 918356"/>
              <a:gd name="connsiteX43" fmla="*/ 3073635 w 9517857"/>
              <a:gd name="connsiteY43" fmla="*/ 491294 h 918356"/>
              <a:gd name="connsiteX44" fmla="*/ 3222071 w 9517857"/>
              <a:gd name="connsiteY44" fmla="*/ 470559 h 918356"/>
              <a:gd name="connsiteX45" fmla="*/ 3274069 w 9517857"/>
              <a:gd name="connsiteY45" fmla="*/ 451605 h 918356"/>
              <a:gd name="connsiteX46" fmla="*/ 3349632 w 9517857"/>
              <a:gd name="connsiteY46" fmla="*/ 432583 h 918356"/>
              <a:gd name="connsiteX47" fmla="*/ 3479593 w 9517857"/>
              <a:gd name="connsiteY47" fmla="*/ 390437 h 918356"/>
              <a:gd name="connsiteX48" fmla="*/ 3660110 w 9517857"/>
              <a:gd name="connsiteY48" fmla="*/ 348726 h 918356"/>
              <a:gd name="connsiteX49" fmla="*/ 3750023 w 9517857"/>
              <a:gd name="connsiteY49" fmla="*/ 370678 h 918356"/>
              <a:gd name="connsiteX50" fmla="*/ 3844133 w 9517857"/>
              <a:gd name="connsiteY50" fmla="*/ 360648 h 918356"/>
              <a:gd name="connsiteX51" fmla="*/ 3913545 w 9517857"/>
              <a:gd name="connsiteY51" fmla="*/ 344235 h 918356"/>
              <a:gd name="connsiteX52" fmla="*/ 4266740 w 9517857"/>
              <a:gd name="connsiteY52" fmla="*/ 361454 h 918356"/>
              <a:gd name="connsiteX53" fmla="*/ 4430770 w 9517857"/>
              <a:gd name="connsiteY53" fmla="*/ 342643 h 918356"/>
              <a:gd name="connsiteX54" fmla="*/ 4512664 w 9517857"/>
              <a:gd name="connsiteY54" fmla="*/ 319948 h 918356"/>
              <a:gd name="connsiteX55" fmla="*/ 4616423 w 9517857"/>
              <a:gd name="connsiteY55" fmla="*/ 290914 h 918356"/>
              <a:gd name="connsiteX56" fmla="*/ 4691675 w 9517857"/>
              <a:gd name="connsiteY56" fmla="*/ 254011 h 918356"/>
              <a:gd name="connsiteX57" fmla="*/ 4689051 w 9517857"/>
              <a:gd name="connsiteY57" fmla="*/ 250968 h 918356"/>
              <a:gd name="connsiteX58" fmla="*/ 4719994 w 9517857"/>
              <a:gd name="connsiteY58" fmla="*/ 245307 h 918356"/>
              <a:gd name="connsiteX59" fmla="*/ 4752894 w 9517857"/>
              <a:gd name="connsiteY59" fmla="*/ 239875 h 918356"/>
              <a:gd name="connsiteX60" fmla="*/ 4769329 w 9517857"/>
              <a:gd name="connsiteY60" fmla="*/ 233585 h 918356"/>
              <a:gd name="connsiteX61" fmla="*/ 4775634 w 9517857"/>
              <a:gd name="connsiteY61" fmla="*/ 234063 h 918356"/>
              <a:gd name="connsiteX62" fmla="*/ 4790452 w 9517857"/>
              <a:gd name="connsiteY62" fmla="*/ 233572 h 918356"/>
              <a:gd name="connsiteX63" fmla="*/ 4789062 w 9517857"/>
              <a:gd name="connsiteY63" fmla="*/ 241924 h 918356"/>
              <a:gd name="connsiteX64" fmla="*/ 4827826 w 9517857"/>
              <a:gd name="connsiteY64" fmla="*/ 246977 h 918356"/>
              <a:gd name="connsiteX65" fmla="*/ 4892569 w 9517857"/>
              <a:gd name="connsiteY65" fmla="*/ 249933 h 918356"/>
              <a:gd name="connsiteX66" fmla="*/ 4896611 w 9517857"/>
              <a:gd name="connsiteY66" fmla="*/ 240448 h 918356"/>
              <a:gd name="connsiteX67" fmla="*/ 4917286 w 9517857"/>
              <a:gd name="connsiteY67" fmla="*/ 243659 h 918356"/>
              <a:gd name="connsiteX68" fmla="*/ 4981173 w 9517857"/>
              <a:gd name="connsiteY68" fmla="*/ 247103 h 918356"/>
              <a:gd name="connsiteX69" fmla="*/ 5060397 w 9517857"/>
              <a:gd name="connsiteY69" fmla="*/ 263688 h 918356"/>
              <a:gd name="connsiteX70" fmla="*/ 5252996 w 9517857"/>
              <a:gd name="connsiteY70" fmla="*/ 270655 h 918356"/>
              <a:gd name="connsiteX71" fmla="*/ 5358056 w 9517857"/>
              <a:gd name="connsiteY71" fmla="*/ 247248 h 918356"/>
              <a:gd name="connsiteX72" fmla="*/ 5426496 w 9517857"/>
              <a:gd name="connsiteY72" fmla="*/ 235142 h 918356"/>
              <a:gd name="connsiteX73" fmla="*/ 5497161 w 9517857"/>
              <a:gd name="connsiteY73" fmla="*/ 228808 h 918356"/>
              <a:gd name="connsiteX74" fmla="*/ 5826043 w 9517857"/>
              <a:gd name="connsiteY74" fmla="*/ 148073 h 918356"/>
              <a:gd name="connsiteX75" fmla="*/ 6013415 w 9517857"/>
              <a:gd name="connsiteY75" fmla="*/ 137316 h 918356"/>
              <a:gd name="connsiteX76" fmla="*/ 6080994 w 9517857"/>
              <a:gd name="connsiteY76" fmla="*/ 142938 h 918356"/>
              <a:gd name="connsiteX77" fmla="*/ 6194152 w 9517857"/>
              <a:gd name="connsiteY77" fmla="*/ 151772 h 918356"/>
              <a:gd name="connsiteX78" fmla="*/ 6281379 w 9517857"/>
              <a:gd name="connsiteY78" fmla="*/ 181626 h 918356"/>
              <a:gd name="connsiteX79" fmla="*/ 6374947 w 9517857"/>
              <a:gd name="connsiteY79" fmla="*/ 179799 h 918356"/>
              <a:gd name="connsiteX80" fmla="*/ 6448518 w 9517857"/>
              <a:gd name="connsiteY80" fmla="*/ 164378 h 918356"/>
              <a:gd name="connsiteX81" fmla="*/ 6544700 w 9517857"/>
              <a:gd name="connsiteY81" fmla="*/ 167161 h 918356"/>
              <a:gd name="connsiteX82" fmla="*/ 6648353 w 9517857"/>
              <a:gd name="connsiteY82" fmla="*/ 172250 h 918356"/>
              <a:gd name="connsiteX83" fmla="*/ 6736227 w 9517857"/>
              <a:gd name="connsiteY83" fmla="*/ 173216 h 918356"/>
              <a:gd name="connsiteX84" fmla="*/ 6977218 w 9517857"/>
              <a:gd name="connsiteY84" fmla="*/ 184289 h 918356"/>
              <a:gd name="connsiteX85" fmla="*/ 7065221 w 9517857"/>
              <a:gd name="connsiteY85" fmla="*/ 227531 h 918356"/>
              <a:gd name="connsiteX86" fmla="*/ 7565449 w 9517857"/>
              <a:gd name="connsiteY86" fmla="*/ 258950 h 918356"/>
              <a:gd name="connsiteX87" fmla="*/ 7599285 w 9517857"/>
              <a:gd name="connsiteY87" fmla="*/ 266021 h 918356"/>
              <a:gd name="connsiteX88" fmla="*/ 7644411 w 9517857"/>
              <a:gd name="connsiteY88" fmla="*/ 258986 h 918356"/>
              <a:gd name="connsiteX89" fmla="*/ 7825110 w 9517857"/>
              <a:gd name="connsiteY89" fmla="*/ 229109 h 918356"/>
              <a:gd name="connsiteX90" fmla="*/ 7965804 w 9517857"/>
              <a:gd name="connsiteY90" fmla="*/ 190545 h 918356"/>
              <a:gd name="connsiteX91" fmla="*/ 8147401 w 9517857"/>
              <a:gd name="connsiteY91" fmla="*/ 205617 h 918356"/>
              <a:gd name="connsiteX92" fmla="*/ 8256033 w 9517857"/>
              <a:gd name="connsiteY92" fmla="*/ 193713 h 918356"/>
              <a:gd name="connsiteX93" fmla="*/ 8410677 w 9517857"/>
              <a:gd name="connsiteY93" fmla="*/ 172167 h 918356"/>
              <a:gd name="connsiteX94" fmla="*/ 8617841 w 9517857"/>
              <a:gd name="connsiteY94" fmla="*/ 155167 h 918356"/>
              <a:gd name="connsiteX95" fmla="*/ 8715976 w 9517857"/>
              <a:gd name="connsiteY95" fmla="*/ 178374 h 918356"/>
              <a:gd name="connsiteX96" fmla="*/ 8778827 w 9517857"/>
              <a:gd name="connsiteY96" fmla="*/ 172936 h 918356"/>
              <a:gd name="connsiteX97" fmla="*/ 8840778 w 9517857"/>
              <a:gd name="connsiteY97" fmla="*/ 143149 h 918356"/>
              <a:gd name="connsiteX98" fmla="*/ 9010380 w 9517857"/>
              <a:gd name="connsiteY98" fmla="*/ 91891 h 918356"/>
              <a:gd name="connsiteX99" fmla="*/ 9110856 w 9517857"/>
              <a:gd name="connsiteY99" fmla="*/ 70997 h 918356"/>
              <a:gd name="connsiteX100" fmla="*/ 9268817 w 9517857"/>
              <a:gd name="connsiteY100" fmla="*/ 53082 h 918356"/>
              <a:gd name="connsiteX101" fmla="*/ 9316667 w 9517857"/>
              <a:gd name="connsiteY101" fmla="*/ 45047 h 918356"/>
              <a:gd name="connsiteX102" fmla="*/ 9428209 w 9517857"/>
              <a:gd name="connsiteY102" fmla="*/ 29923 h 918356"/>
              <a:gd name="connsiteX103" fmla="*/ 9517856 w 9517857"/>
              <a:gd name="connsiteY103" fmla="*/ 0 h 918356"/>
              <a:gd name="connsiteX0" fmla="*/ 4686423 w 9517857"/>
              <a:gd name="connsiteY0" fmla="*/ 247919 h 918356"/>
              <a:gd name="connsiteX1" fmla="*/ 4689051 w 9517857"/>
              <a:gd name="connsiteY1" fmla="*/ 250968 h 918356"/>
              <a:gd name="connsiteX2" fmla="*/ 4687244 w 9517857"/>
              <a:gd name="connsiteY2" fmla="*/ 251298 h 918356"/>
              <a:gd name="connsiteX3" fmla="*/ 4686423 w 9517857"/>
              <a:gd name="connsiteY3" fmla="*/ 247919 h 918356"/>
              <a:gd name="connsiteX4" fmla="*/ 4685225 w 9517857"/>
              <a:gd name="connsiteY4" fmla="*/ 246530 h 918356"/>
              <a:gd name="connsiteX5" fmla="*/ 4686133 w 9517857"/>
              <a:gd name="connsiteY5" fmla="*/ 246727 h 918356"/>
              <a:gd name="connsiteX6" fmla="*/ 4686423 w 9517857"/>
              <a:gd name="connsiteY6" fmla="*/ 247919 h 918356"/>
              <a:gd name="connsiteX7" fmla="*/ 4685225 w 9517857"/>
              <a:gd name="connsiteY7" fmla="*/ 246530 h 918356"/>
              <a:gd name="connsiteX8" fmla="*/ 9517856 w 9517857"/>
              <a:gd name="connsiteY8" fmla="*/ 0 h 918356"/>
              <a:gd name="connsiteX9" fmla="*/ 9517857 w 9517857"/>
              <a:gd name="connsiteY9" fmla="*/ 12 h 918356"/>
              <a:gd name="connsiteX10" fmla="*/ 9517857 w 9517857"/>
              <a:gd name="connsiteY10" fmla="*/ 918356 h 918356"/>
              <a:gd name="connsiteX11" fmla="*/ 14604 w 9517857"/>
              <a:gd name="connsiteY11" fmla="*/ 918356 h 918356"/>
              <a:gd name="connsiteX12" fmla="*/ 12841 w 9517857"/>
              <a:gd name="connsiteY12" fmla="*/ 917763 h 918356"/>
              <a:gd name="connsiteX13" fmla="*/ 93 w 9517857"/>
              <a:gd name="connsiteY13" fmla="*/ 912471 h 918356"/>
              <a:gd name="connsiteX14" fmla="*/ 58674 w 9517857"/>
              <a:gd name="connsiteY14" fmla="*/ 890322 h 918356"/>
              <a:gd name="connsiteX15" fmla="*/ 275005 w 9517857"/>
              <a:gd name="connsiteY15" fmla="*/ 807229 h 918356"/>
              <a:gd name="connsiteX16" fmla="*/ 587824 w 9517857"/>
              <a:gd name="connsiteY16" fmla="*/ 798195 h 918356"/>
              <a:gd name="connsiteX17" fmla="*/ 651826 w 9517857"/>
              <a:gd name="connsiteY17" fmla="*/ 738338 h 918356"/>
              <a:gd name="connsiteX18" fmla="*/ 727985 w 9517857"/>
              <a:gd name="connsiteY18" fmla="*/ 719826 h 918356"/>
              <a:gd name="connsiteX19" fmla="*/ 778982 w 9517857"/>
              <a:gd name="connsiteY19" fmla="*/ 710142 h 918356"/>
              <a:gd name="connsiteX20" fmla="*/ 849944 w 9517857"/>
              <a:gd name="connsiteY20" fmla="*/ 717987 h 918356"/>
              <a:gd name="connsiteX21" fmla="*/ 921659 w 9517857"/>
              <a:gd name="connsiteY21" fmla="*/ 712695 h 918356"/>
              <a:gd name="connsiteX22" fmla="*/ 930946 w 9517857"/>
              <a:gd name="connsiteY22" fmla="*/ 734046 h 918356"/>
              <a:gd name="connsiteX23" fmla="*/ 986250 w 9517857"/>
              <a:gd name="connsiteY23" fmla="*/ 713530 h 918356"/>
              <a:gd name="connsiteX24" fmla="*/ 1013752 w 9517857"/>
              <a:gd name="connsiteY24" fmla="*/ 713361 h 918356"/>
              <a:gd name="connsiteX25" fmla="*/ 1023734 w 9517857"/>
              <a:gd name="connsiteY25" fmla="*/ 718571 h 918356"/>
              <a:gd name="connsiteX26" fmla="*/ 1063207 w 9517857"/>
              <a:gd name="connsiteY26" fmla="*/ 715651 h 918356"/>
              <a:gd name="connsiteX27" fmla="*/ 1081980 w 9517857"/>
              <a:gd name="connsiteY27" fmla="*/ 738455 h 918356"/>
              <a:gd name="connsiteX28" fmla="*/ 1218120 w 9517857"/>
              <a:gd name="connsiteY28" fmla="*/ 713280 h 918356"/>
              <a:gd name="connsiteX29" fmla="*/ 1397459 w 9517857"/>
              <a:gd name="connsiteY29" fmla="*/ 691190 h 918356"/>
              <a:gd name="connsiteX30" fmla="*/ 1580688 w 9517857"/>
              <a:gd name="connsiteY30" fmla="*/ 693697 h 918356"/>
              <a:gd name="connsiteX31" fmla="*/ 1772334 w 9517857"/>
              <a:gd name="connsiteY31" fmla="*/ 710640 h 918356"/>
              <a:gd name="connsiteX32" fmla="*/ 2002561 w 9517857"/>
              <a:gd name="connsiteY32" fmla="*/ 659917 h 918356"/>
              <a:gd name="connsiteX33" fmla="*/ 2135144 w 9517857"/>
              <a:gd name="connsiteY33" fmla="*/ 636501 h 918356"/>
              <a:gd name="connsiteX34" fmla="*/ 2440292 w 9517857"/>
              <a:gd name="connsiteY34" fmla="*/ 593862 h 918356"/>
              <a:gd name="connsiteX35" fmla="*/ 2547829 w 9517857"/>
              <a:gd name="connsiteY35" fmla="*/ 566150 h 918356"/>
              <a:gd name="connsiteX36" fmla="*/ 2658055 w 9517857"/>
              <a:gd name="connsiteY36" fmla="*/ 578727 h 918356"/>
              <a:gd name="connsiteX37" fmla="*/ 2693698 w 9517857"/>
              <a:gd name="connsiteY37" fmla="*/ 560029 h 918356"/>
              <a:gd name="connsiteX38" fmla="*/ 2699673 w 9517857"/>
              <a:gd name="connsiteY38" fmla="*/ 556400 h 918356"/>
              <a:gd name="connsiteX39" fmla="*/ 2727306 w 9517857"/>
              <a:gd name="connsiteY39" fmla="*/ 550698 h 918356"/>
              <a:gd name="connsiteX40" fmla="*/ 2730451 w 9517857"/>
              <a:gd name="connsiteY40" fmla="*/ 538058 h 918356"/>
              <a:gd name="connsiteX41" fmla="*/ 2768713 w 9517857"/>
              <a:gd name="connsiteY41" fmla="*/ 521575 h 918356"/>
              <a:gd name="connsiteX42" fmla="*/ 2820868 w 9517857"/>
              <a:gd name="connsiteY42" fmla="*/ 514160 h 918356"/>
              <a:gd name="connsiteX43" fmla="*/ 3073635 w 9517857"/>
              <a:gd name="connsiteY43" fmla="*/ 491294 h 918356"/>
              <a:gd name="connsiteX44" fmla="*/ 3222071 w 9517857"/>
              <a:gd name="connsiteY44" fmla="*/ 470559 h 918356"/>
              <a:gd name="connsiteX45" fmla="*/ 3274069 w 9517857"/>
              <a:gd name="connsiteY45" fmla="*/ 451605 h 918356"/>
              <a:gd name="connsiteX46" fmla="*/ 3349632 w 9517857"/>
              <a:gd name="connsiteY46" fmla="*/ 432583 h 918356"/>
              <a:gd name="connsiteX47" fmla="*/ 3479593 w 9517857"/>
              <a:gd name="connsiteY47" fmla="*/ 390437 h 918356"/>
              <a:gd name="connsiteX48" fmla="*/ 3660110 w 9517857"/>
              <a:gd name="connsiteY48" fmla="*/ 348726 h 918356"/>
              <a:gd name="connsiteX49" fmla="*/ 3750023 w 9517857"/>
              <a:gd name="connsiteY49" fmla="*/ 370678 h 918356"/>
              <a:gd name="connsiteX50" fmla="*/ 3844133 w 9517857"/>
              <a:gd name="connsiteY50" fmla="*/ 360648 h 918356"/>
              <a:gd name="connsiteX51" fmla="*/ 3913545 w 9517857"/>
              <a:gd name="connsiteY51" fmla="*/ 344235 h 918356"/>
              <a:gd name="connsiteX52" fmla="*/ 4266740 w 9517857"/>
              <a:gd name="connsiteY52" fmla="*/ 361454 h 918356"/>
              <a:gd name="connsiteX53" fmla="*/ 4430770 w 9517857"/>
              <a:gd name="connsiteY53" fmla="*/ 342643 h 918356"/>
              <a:gd name="connsiteX54" fmla="*/ 4512664 w 9517857"/>
              <a:gd name="connsiteY54" fmla="*/ 319948 h 918356"/>
              <a:gd name="connsiteX55" fmla="*/ 4616423 w 9517857"/>
              <a:gd name="connsiteY55" fmla="*/ 290914 h 918356"/>
              <a:gd name="connsiteX56" fmla="*/ 4691675 w 9517857"/>
              <a:gd name="connsiteY56" fmla="*/ 254011 h 918356"/>
              <a:gd name="connsiteX57" fmla="*/ 4689051 w 9517857"/>
              <a:gd name="connsiteY57" fmla="*/ 250968 h 918356"/>
              <a:gd name="connsiteX58" fmla="*/ 4719994 w 9517857"/>
              <a:gd name="connsiteY58" fmla="*/ 245307 h 918356"/>
              <a:gd name="connsiteX59" fmla="*/ 4752894 w 9517857"/>
              <a:gd name="connsiteY59" fmla="*/ 239875 h 918356"/>
              <a:gd name="connsiteX60" fmla="*/ 4769329 w 9517857"/>
              <a:gd name="connsiteY60" fmla="*/ 233585 h 918356"/>
              <a:gd name="connsiteX61" fmla="*/ 4775634 w 9517857"/>
              <a:gd name="connsiteY61" fmla="*/ 234063 h 918356"/>
              <a:gd name="connsiteX62" fmla="*/ 4790452 w 9517857"/>
              <a:gd name="connsiteY62" fmla="*/ 233572 h 918356"/>
              <a:gd name="connsiteX63" fmla="*/ 4789062 w 9517857"/>
              <a:gd name="connsiteY63" fmla="*/ 241924 h 918356"/>
              <a:gd name="connsiteX64" fmla="*/ 4827826 w 9517857"/>
              <a:gd name="connsiteY64" fmla="*/ 246977 h 918356"/>
              <a:gd name="connsiteX65" fmla="*/ 4892569 w 9517857"/>
              <a:gd name="connsiteY65" fmla="*/ 249933 h 918356"/>
              <a:gd name="connsiteX66" fmla="*/ 4896611 w 9517857"/>
              <a:gd name="connsiteY66" fmla="*/ 240448 h 918356"/>
              <a:gd name="connsiteX67" fmla="*/ 4917286 w 9517857"/>
              <a:gd name="connsiteY67" fmla="*/ 243659 h 918356"/>
              <a:gd name="connsiteX68" fmla="*/ 4981173 w 9517857"/>
              <a:gd name="connsiteY68" fmla="*/ 247103 h 918356"/>
              <a:gd name="connsiteX69" fmla="*/ 5060397 w 9517857"/>
              <a:gd name="connsiteY69" fmla="*/ 263688 h 918356"/>
              <a:gd name="connsiteX70" fmla="*/ 5252996 w 9517857"/>
              <a:gd name="connsiteY70" fmla="*/ 270655 h 918356"/>
              <a:gd name="connsiteX71" fmla="*/ 5358056 w 9517857"/>
              <a:gd name="connsiteY71" fmla="*/ 247248 h 918356"/>
              <a:gd name="connsiteX72" fmla="*/ 5426496 w 9517857"/>
              <a:gd name="connsiteY72" fmla="*/ 235142 h 918356"/>
              <a:gd name="connsiteX73" fmla="*/ 5497161 w 9517857"/>
              <a:gd name="connsiteY73" fmla="*/ 228808 h 918356"/>
              <a:gd name="connsiteX74" fmla="*/ 5826043 w 9517857"/>
              <a:gd name="connsiteY74" fmla="*/ 148073 h 918356"/>
              <a:gd name="connsiteX75" fmla="*/ 6013415 w 9517857"/>
              <a:gd name="connsiteY75" fmla="*/ 137316 h 918356"/>
              <a:gd name="connsiteX76" fmla="*/ 6080994 w 9517857"/>
              <a:gd name="connsiteY76" fmla="*/ 142938 h 918356"/>
              <a:gd name="connsiteX77" fmla="*/ 6194152 w 9517857"/>
              <a:gd name="connsiteY77" fmla="*/ 151772 h 918356"/>
              <a:gd name="connsiteX78" fmla="*/ 6281379 w 9517857"/>
              <a:gd name="connsiteY78" fmla="*/ 181626 h 918356"/>
              <a:gd name="connsiteX79" fmla="*/ 6374947 w 9517857"/>
              <a:gd name="connsiteY79" fmla="*/ 179799 h 918356"/>
              <a:gd name="connsiteX80" fmla="*/ 6448518 w 9517857"/>
              <a:gd name="connsiteY80" fmla="*/ 164378 h 918356"/>
              <a:gd name="connsiteX81" fmla="*/ 6544700 w 9517857"/>
              <a:gd name="connsiteY81" fmla="*/ 167161 h 918356"/>
              <a:gd name="connsiteX82" fmla="*/ 6648353 w 9517857"/>
              <a:gd name="connsiteY82" fmla="*/ 172250 h 918356"/>
              <a:gd name="connsiteX83" fmla="*/ 6736227 w 9517857"/>
              <a:gd name="connsiteY83" fmla="*/ 173216 h 918356"/>
              <a:gd name="connsiteX84" fmla="*/ 6977218 w 9517857"/>
              <a:gd name="connsiteY84" fmla="*/ 184289 h 918356"/>
              <a:gd name="connsiteX85" fmla="*/ 7065221 w 9517857"/>
              <a:gd name="connsiteY85" fmla="*/ 227531 h 918356"/>
              <a:gd name="connsiteX86" fmla="*/ 7565449 w 9517857"/>
              <a:gd name="connsiteY86" fmla="*/ 258950 h 918356"/>
              <a:gd name="connsiteX87" fmla="*/ 7599285 w 9517857"/>
              <a:gd name="connsiteY87" fmla="*/ 266021 h 918356"/>
              <a:gd name="connsiteX88" fmla="*/ 7644411 w 9517857"/>
              <a:gd name="connsiteY88" fmla="*/ 258986 h 918356"/>
              <a:gd name="connsiteX89" fmla="*/ 7825110 w 9517857"/>
              <a:gd name="connsiteY89" fmla="*/ 229109 h 918356"/>
              <a:gd name="connsiteX90" fmla="*/ 7965804 w 9517857"/>
              <a:gd name="connsiteY90" fmla="*/ 190545 h 918356"/>
              <a:gd name="connsiteX91" fmla="*/ 8147401 w 9517857"/>
              <a:gd name="connsiteY91" fmla="*/ 205617 h 918356"/>
              <a:gd name="connsiteX92" fmla="*/ 8256033 w 9517857"/>
              <a:gd name="connsiteY92" fmla="*/ 193713 h 918356"/>
              <a:gd name="connsiteX93" fmla="*/ 8617841 w 9517857"/>
              <a:gd name="connsiteY93" fmla="*/ 155167 h 918356"/>
              <a:gd name="connsiteX94" fmla="*/ 8715976 w 9517857"/>
              <a:gd name="connsiteY94" fmla="*/ 178374 h 918356"/>
              <a:gd name="connsiteX95" fmla="*/ 8778827 w 9517857"/>
              <a:gd name="connsiteY95" fmla="*/ 172936 h 918356"/>
              <a:gd name="connsiteX96" fmla="*/ 8840778 w 9517857"/>
              <a:gd name="connsiteY96" fmla="*/ 143149 h 918356"/>
              <a:gd name="connsiteX97" fmla="*/ 9010380 w 9517857"/>
              <a:gd name="connsiteY97" fmla="*/ 91891 h 918356"/>
              <a:gd name="connsiteX98" fmla="*/ 9110856 w 9517857"/>
              <a:gd name="connsiteY98" fmla="*/ 70997 h 918356"/>
              <a:gd name="connsiteX99" fmla="*/ 9268817 w 9517857"/>
              <a:gd name="connsiteY99" fmla="*/ 53082 h 918356"/>
              <a:gd name="connsiteX100" fmla="*/ 9316667 w 9517857"/>
              <a:gd name="connsiteY100" fmla="*/ 45047 h 918356"/>
              <a:gd name="connsiteX101" fmla="*/ 9428209 w 9517857"/>
              <a:gd name="connsiteY101" fmla="*/ 29923 h 918356"/>
              <a:gd name="connsiteX102" fmla="*/ 9517856 w 9517857"/>
              <a:gd name="connsiteY102" fmla="*/ 0 h 918356"/>
              <a:gd name="connsiteX0" fmla="*/ 4686423 w 9517857"/>
              <a:gd name="connsiteY0" fmla="*/ 247919 h 918356"/>
              <a:gd name="connsiteX1" fmla="*/ 4689051 w 9517857"/>
              <a:gd name="connsiteY1" fmla="*/ 250968 h 918356"/>
              <a:gd name="connsiteX2" fmla="*/ 4687244 w 9517857"/>
              <a:gd name="connsiteY2" fmla="*/ 251298 h 918356"/>
              <a:gd name="connsiteX3" fmla="*/ 4686423 w 9517857"/>
              <a:gd name="connsiteY3" fmla="*/ 247919 h 918356"/>
              <a:gd name="connsiteX4" fmla="*/ 4685225 w 9517857"/>
              <a:gd name="connsiteY4" fmla="*/ 246530 h 918356"/>
              <a:gd name="connsiteX5" fmla="*/ 4686133 w 9517857"/>
              <a:gd name="connsiteY5" fmla="*/ 246727 h 918356"/>
              <a:gd name="connsiteX6" fmla="*/ 4686423 w 9517857"/>
              <a:gd name="connsiteY6" fmla="*/ 247919 h 918356"/>
              <a:gd name="connsiteX7" fmla="*/ 4685225 w 9517857"/>
              <a:gd name="connsiteY7" fmla="*/ 246530 h 918356"/>
              <a:gd name="connsiteX8" fmla="*/ 9517856 w 9517857"/>
              <a:gd name="connsiteY8" fmla="*/ 0 h 918356"/>
              <a:gd name="connsiteX9" fmla="*/ 9517857 w 9517857"/>
              <a:gd name="connsiteY9" fmla="*/ 12 h 918356"/>
              <a:gd name="connsiteX10" fmla="*/ 9517857 w 9517857"/>
              <a:gd name="connsiteY10" fmla="*/ 918356 h 918356"/>
              <a:gd name="connsiteX11" fmla="*/ 14604 w 9517857"/>
              <a:gd name="connsiteY11" fmla="*/ 918356 h 918356"/>
              <a:gd name="connsiteX12" fmla="*/ 12841 w 9517857"/>
              <a:gd name="connsiteY12" fmla="*/ 917763 h 918356"/>
              <a:gd name="connsiteX13" fmla="*/ 93 w 9517857"/>
              <a:gd name="connsiteY13" fmla="*/ 912471 h 918356"/>
              <a:gd name="connsiteX14" fmla="*/ 58674 w 9517857"/>
              <a:gd name="connsiteY14" fmla="*/ 890322 h 918356"/>
              <a:gd name="connsiteX15" fmla="*/ 275005 w 9517857"/>
              <a:gd name="connsiteY15" fmla="*/ 807229 h 918356"/>
              <a:gd name="connsiteX16" fmla="*/ 587824 w 9517857"/>
              <a:gd name="connsiteY16" fmla="*/ 798195 h 918356"/>
              <a:gd name="connsiteX17" fmla="*/ 651826 w 9517857"/>
              <a:gd name="connsiteY17" fmla="*/ 738338 h 918356"/>
              <a:gd name="connsiteX18" fmla="*/ 727985 w 9517857"/>
              <a:gd name="connsiteY18" fmla="*/ 719826 h 918356"/>
              <a:gd name="connsiteX19" fmla="*/ 778982 w 9517857"/>
              <a:gd name="connsiteY19" fmla="*/ 710142 h 918356"/>
              <a:gd name="connsiteX20" fmla="*/ 849944 w 9517857"/>
              <a:gd name="connsiteY20" fmla="*/ 717987 h 918356"/>
              <a:gd name="connsiteX21" fmla="*/ 921659 w 9517857"/>
              <a:gd name="connsiteY21" fmla="*/ 712695 h 918356"/>
              <a:gd name="connsiteX22" fmla="*/ 930946 w 9517857"/>
              <a:gd name="connsiteY22" fmla="*/ 734046 h 918356"/>
              <a:gd name="connsiteX23" fmla="*/ 986250 w 9517857"/>
              <a:gd name="connsiteY23" fmla="*/ 713530 h 918356"/>
              <a:gd name="connsiteX24" fmla="*/ 1013752 w 9517857"/>
              <a:gd name="connsiteY24" fmla="*/ 713361 h 918356"/>
              <a:gd name="connsiteX25" fmla="*/ 1023734 w 9517857"/>
              <a:gd name="connsiteY25" fmla="*/ 718571 h 918356"/>
              <a:gd name="connsiteX26" fmla="*/ 1063207 w 9517857"/>
              <a:gd name="connsiteY26" fmla="*/ 715651 h 918356"/>
              <a:gd name="connsiteX27" fmla="*/ 1081980 w 9517857"/>
              <a:gd name="connsiteY27" fmla="*/ 738455 h 918356"/>
              <a:gd name="connsiteX28" fmla="*/ 1218120 w 9517857"/>
              <a:gd name="connsiteY28" fmla="*/ 713280 h 918356"/>
              <a:gd name="connsiteX29" fmla="*/ 1397459 w 9517857"/>
              <a:gd name="connsiteY29" fmla="*/ 691190 h 918356"/>
              <a:gd name="connsiteX30" fmla="*/ 1580688 w 9517857"/>
              <a:gd name="connsiteY30" fmla="*/ 693697 h 918356"/>
              <a:gd name="connsiteX31" fmla="*/ 1772334 w 9517857"/>
              <a:gd name="connsiteY31" fmla="*/ 710640 h 918356"/>
              <a:gd name="connsiteX32" fmla="*/ 2002561 w 9517857"/>
              <a:gd name="connsiteY32" fmla="*/ 659917 h 918356"/>
              <a:gd name="connsiteX33" fmla="*/ 2135144 w 9517857"/>
              <a:gd name="connsiteY33" fmla="*/ 636501 h 918356"/>
              <a:gd name="connsiteX34" fmla="*/ 2440292 w 9517857"/>
              <a:gd name="connsiteY34" fmla="*/ 593862 h 918356"/>
              <a:gd name="connsiteX35" fmla="*/ 2547829 w 9517857"/>
              <a:gd name="connsiteY35" fmla="*/ 566150 h 918356"/>
              <a:gd name="connsiteX36" fmla="*/ 2658055 w 9517857"/>
              <a:gd name="connsiteY36" fmla="*/ 578727 h 918356"/>
              <a:gd name="connsiteX37" fmla="*/ 2693698 w 9517857"/>
              <a:gd name="connsiteY37" fmla="*/ 560029 h 918356"/>
              <a:gd name="connsiteX38" fmla="*/ 2699673 w 9517857"/>
              <a:gd name="connsiteY38" fmla="*/ 556400 h 918356"/>
              <a:gd name="connsiteX39" fmla="*/ 2727306 w 9517857"/>
              <a:gd name="connsiteY39" fmla="*/ 550698 h 918356"/>
              <a:gd name="connsiteX40" fmla="*/ 2730451 w 9517857"/>
              <a:gd name="connsiteY40" fmla="*/ 538058 h 918356"/>
              <a:gd name="connsiteX41" fmla="*/ 2768713 w 9517857"/>
              <a:gd name="connsiteY41" fmla="*/ 521575 h 918356"/>
              <a:gd name="connsiteX42" fmla="*/ 2820868 w 9517857"/>
              <a:gd name="connsiteY42" fmla="*/ 514160 h 918356"/>
              <a:gd name="connsiteX43" fmla="*/ 3073635 w 9517857"/>
              <a:gd name="connsiteY43" fmla="*/ 491294 h 918356"/>
              <a:gd name="connsiteX44" fmla="*/ 3222071 w 9517857"/>
              <a:gd name="connsiteY44" fmla="*/ 470559 h 918356"/>
              <a:gd name="connsiteX45" fmla="*/ 3274069 w 9517857"/>
              <a:gd name="connsiteY45" fmla="*/ 451605 h 918356"/>
              <a:gd name="connsiteX46" fmla="*/ 3349632 w 9517857"/>
              <a:gd name="connsiteY46" fmla="*/ 432583 h 918356"/>
              <a:gd name="connsiteX47" fmla="*/ 3479593 w 9517857"/>
              <a:gd name="connsiteY47" fmla="*/ 390437 h 918356"/>
              <a:gd name="connsiteX48" fmla="*/ 3660110 w 9517857"/>
              <a:gd name="connsiteY48" fmla="*/ 348726 h 918356"/>
              <a:gd name="connsiteX49" fmla="*/ 3750023 w 9517857"/>
              <a:gd name="connsiteY49" fmla="*/ 370678 h 918356"/>
              <a:gd name="connsiteX50" fmla="*/ 3844133 w 9517857"/>
              <a:gd name="connsiteY50" fmla="*/ 360648 h 918356"/>
              <a:gd name="connsiteX51" fmla="*/ 3913545 w 9517857"/>
              <a:gd name="connsiteY51" fmla="*/ 344235 h 918356"/>
              <a:gd name="connsiteX52" fmla="*/ 4266740 w 9517857"/>
              <a:gd name="connsiteY52" fmla="*/ 361454 h 918356"/>
              <a:gd name="connsiteX53" fmla="*/ 4430770 w 9517857"/>
              <a:gd name="connsiteY53" fmla="*/ 342643 h 918356"/>
              <a:gd name="connsiteX54" fmla="*/ 4512664 w 9517857"/>
              <a:gd name="connsiteY54" fmla="*/ 319948 h 918356"/>
              <a:gd name="connsiteX55" fmla="*/ 4616423 w 9517857"/>
              <a:gd name="connsiteY55" fmla="*/ 290914 h 918356"/>
              <a:gd name="connsiteX56" fmla="*/ 4691675 w 9517857"/>
              <a:gd name="connsiteY56" fmla="*/ 254011 h 918356"/>
              <a:gd name="connsiteX57" fmla="*/ 4689051 w 9517857"/>
              <a:gd name="connsiteY57" fmla="*/ 250968 h 918356"/>
              <a:gd name="connsiteX58" fmla="*/ 4719994 w 9517857"/>
              <a:gd name="connsiteY58" fmla="*/ 245307 h 918356"/>
              <a:gd name="connsiteX59" fmla="*/ 4752894 w 9517857"/>
              <a:gd name="connsiteY59" fmla="*/ 239875 h 918356"/>
              <a:gd name="connsiteX60" fmla="*/ 4769329 w 9517857"/>
              <a:gd name="connsiteY60" fmla="*/ 233585 h 918356"/>
              <a:gd name="connsiteX61" fmla="*/ 4775634 w 9517857"/>
              <a:gd name="connsiteY61" fmla="*/ 234063 h 918356"/>
              <a:gd name="connsiteX62" fmla="*/ 4790452 w 9517857"/>
              <a:gd name="connsiteY62" fmla="*/ 233572 h 918356"/>
              <a:gd name="connsiteX63" fmla="*/ 4789062 w 9517857"/>
              <a:gd name="connsiteY63" fmla="*/ 241924 h 918356"/>
              <a:gd name="connsiteX64" fmla="*/ 4827826 w 9517857"/>
              <a:gd name="connsiteY64" fmla="*/ 246977 h 918356"/>
              <a:gd name="connsiteX65" fmla="*/ 4892569 w 9517857"/>
              <a:gd name="connsiteY65" fmla="*/ 249933 h 918356"/>
              <a:gd name="connsiteX66" fmla="*/ 4896611 w 9517857"/>
              <a:gd name="connsiteY66" fmla="*/ 240448 h 918356"/>
              <a:gd name="connsiteX67" fmla="*/ 4917286 w 9517857"/>
              <a:gd name="connsiteY67" fmla="*/ 243659 h 918356"/>
              <a:gd name="connsiteX68" fmla="*/ 4981173 w 9517857"/>
              <a:gd name="connsiteY68" fmla="*/ 247103 h 918356"/>
              <a:gd name="connsiteX69" fmla="*/ 5060397 w 9517857"/>
              <a:gd name="connsiteY69" fmla="*/ 263688 h 918356"/>
              <a:gd name="connsiteX70" fmla="*/ 5252996 w 9517857"/>
              <a:gd name="connsiteY70" fmla="*/ 270655 h 918356"/>
              <a:gd name="connsiteX71" fmla="*/ 5358056 w 9517857"/>
              <a:gd name="connsiteY71" fmla="*/ 247248 h 918356"/>
              <a:gd name="connsiteX72" fmla="*/ 5426496 w 9517857"/>
              <a:gd name="connsiteY72" fmla="*/ 235142 h 918356"/>
              <a:gd name="connsiteX73" fmla="*/ 5497161 w 9517857"/>
              <a:gd name="connsiteY73" fmla="*/ 228808 h 918356"/>
              <a:gd name="connsiteX74" fmla="*/ 5826043 w 9517857"/>
              <a:gd name="connsiteY74" fmla="*/ 148073 h 918356"/>
              <a:gd name="connsiteX75" fmla="*/ 6013415 w 9517857"/>
              <a:gd name="connsiteY75" fmla="*/ 137316 h 918356"/>
              <a:gd name="connsiteX76" fmla="*/ 6080994 w 9517857"/>
              <a:gd name="connsiteY76" fmla="*/ 142938 h 918356"/>
              <a:gd name="connsiteX77" fmla="*/ 6194152 w 9517857"/>
              <a:gd name="connsiteY77" fmla="*/ 151772 h 918356"/>
              <a:gd name="connsiteX78" fmla="*/ 6281379 w 9517857"/>
              <a:gd name="connsiteY78" fmla="*/ 181626 h 918356"/>
              <a:gd name="connsiteX79" fmla="*/ 6374947 w 9517857"/>
              <a:gd name="connsiteY79" fmla="*/ 179799 h 918356"/>
              <a:gd name="connsiteX80" fmla="*/ 6448518 w 9517857"/>
              <a:gd name="connsiteY80" fmla="*/ 164378 h 918356"/>
              <a:gd name="connsiteX81" fmla="*/ 6544700 w 9517857"/>
              <a:gd name="connsiteY81" fmla="*/ 167161 h 918356"/>
              <a:gd name="connsiteX82" fmla="*/ 6648353 w 9517857"/>
              <a:gd name="connsiteY82" fmla="*/ 172250 h 918356"/>
              <a:gd name="connsiteX83" fmla="*/ 6736227 w 9517857"/>
              <a:gd name="connsiteY83" fmla="*/ 173216 h 918356"/>
              <a:gd name="connsiteX84" fmla="*/ 6977218 w 9517857"/>
              <a:gd name="connsiteY84" fmla="*/ 184289 h 918356"/>
              <a:gd name="connsiteX85" fmla="*/ 7065221 w 9517857"/>
              <a:gd name="connsiteY85" fmla="*/ 227531 h 918356"/>
              <a:gd name="connsiteX86" fmla="*/ 7565449 w 9517857"/>
              <a:gd name="connsiteY86" fmla="*/ 258950 h 918356"/>
              <a:gd name="connsiteX87" fmla="*/ 7599285 w 9517857"/>
              <a:gd name="connsiteY87" fmla="*/ 266021 h 918356"/>
              <a:gd name="connsiteX88" fmla="*/ 7644411 w 9517857"/>
              <a:gd name="connsiteY88" fmla="*/ 258986 h 918356"/>
              <a:gd name="connsiteX89" fmla="*/ 7825110 w 9517857"/>
              <a:gd name="connsiteY89" fmla="*/ 229109 h 918356"/>
              <a:gd name="connsiteX90" fmla="*/ 7965804 w 9517857"/>
              <a:gd name="connsiteY90" fmla="*/ 190545 h 918356"/>
              <a:gd name="connsiteX91" fmla="*/ 8147401 w 9517857"/>
              <a:gd name="connsiteY91" fmla="*/ 205617 h 918356"/>
              <a:gd name="connsiteX92" fmla="*/ 8256033 w 9517857"/>
              <a:gd name="connsiteY92" fmla="*/ 193713 h 918356"/>
              <a:gd name="connsiteX93" fmla="*/ 8551625 w 9517857"/>
              <a:gd name="connsiteY93" fmla="*/ 161517 h 918356"/>
              <a:gd name="connsiteX94" fmla="*/ 8715976 w 9517857"/>
              <a:gd name="connsiteY94" fmla="*/ 178374 h 918356"/>
              <a:gd name="connsiteX95" fmla="*/ 8778827 w 9517857"/>
              <a:gd name="connsiteY95" fmla="*/ 172936 h 918356"/>
              <a:gd name="connsiteX96" fmla="*/ 8840778 w 9517857"/>
              <a:gd name="connsiteY96" fmla="*/ 143149 h 918356"/>
              <a:gd name="connsiteX97" fmla="*/ 9010380 w 9517857"/>
              <a:gd name="connsiteY97" fmla="*/ 91891 h 918356"/>
              <a:gd name="connsiteX98" fmla="*/ 9110856 w 9517857"/>
              <a:gd name="connsiteY98" fmla="*/ 70997 h 918356"/>
              <a:gd name="connsiteX99" fmla="*/ 9268817 w 9517857"/>
              <a:gd name="connsiteY99" fmla="*/ 53082 h 918356"/>
              <a:gd name="connsiteX100" fmla="*/ 9316667 w 9517857"/>
              <a:gd name="connsiteY100" fmla="*/ 45047 h 918356"/>
              <a:gd name="connsiteX101" fmla="*/ 9428209 w 9517857"/>
              <a:gd name="connsiteY101" fmla="*/ 29923 h 918356"/>
              <a:gd name="connsiteX102" fmla="*/ 9517856 w 9517857"/>
              <a:gd name="connsiteY102" fmla="*/ 0 h 918356"/>
              <a:gd name="connsiteX0" fmla="*/ 4686423 w 9517857"/>
              <a:gd name="connsiteY0" fmla="*/ 247907 h 918344"/>
              <a:gd name="connsiteX1" fmla="*/ 4689051 w 9517857"/>
              <a:gd name="connsiteY1" fmla="*/ 250956 h 918344"/>
              <a:gd name="connsiteX2" fmla="*/ 4687244 w 9517857"/>
              <a:gd name="connsiteY2" fmla="*/ 251286 h 918344"/>
              <a:gd name="connsiteX3" fmla="*/ 4686423 w 9517857"/>
              <a:gd name="connsiteY3" fmla="*/ 247907 h 918344"/>
              <a:gd name="connsiteX4" fmla="*/ 4685225 w 9517857"/>
              <a:gd name="connsiteY4" fmla="*/ 246518 h 918344"/>
              <a:gd name="connsiteX5" fmla="*/ 4686133 w 9517857"/>
              <a:gd name="connsiteY5" fmla="*/ 246715 h 918344"/>
              <a:gd name="connsiteX6" fmla="*/ 4686423 w 9517857"/>
              <a:gd name="connsiteY6" fmla="*/ 247907 h 918344"/>
              <a:gd name="connsiteX7" fmla="*/ 4685225 w 9517857"/>
              <a:gd name="connsiteY7" fmla="*/ 246518 h 918344"/>
              <a:gd name="connsiteX8" fmla="*/ 9428209 w 9517857"/>
              <a:gd name="connsiteY8" fmla="*/ 29911 h 918344"/>
              <a:gd name="connsiteX9" fmla="*/ 9517857 w 9517857"/>
              <a:gd name="connsiteY9" fmla="*/ 0 h 918344"/>
              <a:gd name="connsiteX10" fmla="*/ 9517857 w 9517857"/>
              <a:gd name="connsiteY10" fmla="*/ 918344 h 918344"/>
              <a:gd name="connsiteX11" fmla="*/ 14604 w 9517857"/>
              <a:gd name="connsiteY11" fmla="*/ 918344 h 918344"/>
              <a:gd name="connsiteX12" fmla="*/ 12841 w 9517857"/>
              <a:gd name="connsiteY12" fmla="*/ 917751 h 918344"/>
              <a:gd name="connsiteX13" fmla="*/ 93 w 9517857"/>
              <a:gd name="connsiteY13" fmla="*/ 912459 h 918344"/>
              <a:gd name="connsiteX14" fmla="*/ 58674 w 9517857"/>
              <a:gd name="connsiteY14" fmla="*/ 890310 h 918344"/>
              <a:gd name="connsiteX15" fmla="*/ 275005 w 9517857"/>
              <a:gd name="connsiteY15" fmla="*/ 807217 h 918344"/>
              <a:gd name="connsiteX16" fmla="*/ 587824 w 9517857"/>
              <a:gd name="connsiteY16" fmla="*/ 798183 h 918344"/>
              <a:gd name="connsiteX17" fmla="*/ 651826 w 9517857"/>
              <a:gd name="connsiteY17" fmla="*/ 738326 h 918344"/>
              <a:gd name="connsiteX18" fmla="*/ 727985 w 9517857"/>
              <a:gd name="connsiteY18" fmla="*/ 719814 h 918344"/>
              <a:gd name="connsiteX19" fmla="*/ 778982 w 9517857"/>
              <a:gd name="connsiteY19" fmla="*/ 710130 h 918344"/>
              <a:gd name="connsiteX20" fmla="*/ 849944 w 9517857"/>
              <a:gd name="connsiteY20" fmla="*/ 717975 h 918344"/>
              <a:gd name="connsiteX21" fmla="*/ 921659 w 9517857"/>
              <a:gd name="connsiteY21" fmla="*/ 712683 h 918344"/>
              <a:gd name="connsiteX22" fmla="*/ 930946 w 9517857"/>
              <a:gd name="connsiteY22" fmla="*/ 734034 h 918344"/>
              <a:gd name="connsiteX23" fmla="*/ 986250 w 9517857"/>
              <a:gd name="connsiteY23" fmla="*/ 713518 h 918344"/>
              <a:gd name="connsiteX24" fmla="*/ 1013752 w 9517857"/>
              <a:gd name="connsiteY24" fmla="*/ 713349 h 918344"/>
              <a:gd name="connsiteX25" fmla="*/ 1023734 w 9517857"/>
              <a:gd name="connsiteY25" fmla="*/ 718559 h 918344"/>
              <a:gd name="connsiteX26" fmla="*/ 1063207 w 9517857"/>
              <a:gd name="connsiteY26" fmla="*/ 715639 h 918344"/>
              <a:gd name="connsiteX27" fmla="*/ 1081980 w 9517857"/>
              <a:gd name="connsiteY27" fmla="*/ 738443 h 918344"/>
              <a:gd name="connsiteX28" fmla="*/ 1218120 w 9517857"/>
              <a:gd name="connsiteY28" fmla="*/ 713268 h 918344"/>
              <a:gd name="connsiteX29" fmla="*/ 1397459 w 9517857"/>
              <a:gd name="connsiteY29" fmla="*/ 691178 h 918344"/>
              <a:gd name="connsiteX30" fmla="*/ 1580688 w 9517857"/>
              <a:gd name="connsiteY30" fmla="*/ 693685 h 918344"/>
              <a:gd name="connsiteX31" fmla="*/ 1772334 w 9517857"/>
              <a:gd name="connsiteY31" fmla="*/ 710628 h 918344"/>
              <a:gd name="connsiteX32" fmla="*/ 2002561 w 9517857"/>
              <a:gd name="connsiteY32" fmla="*/ 659905 h 918344"/>
              <a:gd name="connsiteX33" fmla="*/ 2135144 w 9517857"/>
              <a:gd name="connsiteY33" fmla="*/ 636489 h 918344"/>
              <a:gd name="connsiteX34" fmla="*/ 2440292 w 9517857"/>
              <a:gd name="connsiteY34" fmla="*/ 593850 h 918344"/>
              <a:gd name="connsiteX35" fmla="*/ 2547829 w 9517857"/>
              <a:gd name="connsiteY35" fmla="*/ 566138 h 918344"/>
              <a:gd name="connsiteX36" fmla="*/ 2658055 w 9517857"/>
              <a:gd name="connsiteY36" fmla="*/ 578715 h 918344"/>
              <a:gd name="connsiteX37" fmla="*/ 2693698 w 9517857"/>
              <a:gd name="connsiteY37" fmla="*/ 560017 h 918344"/>
              <a:gd name="connsiteX38" fmla="*/ 2699673 w 9517857"/>
              <a:gd name="connsiteY38" fmla="*/ 556388 h 918344"/>
              <a:gd name="connsiteX39" fmla="*/ 2727306 w 9517857"/>
              <a:gd name="connsiteY39" fmla="*/ 550686 h 918344"/>
              <a:gd name="connsiteX40" fmla="*/ 2730451 w 9517857"/>
              <a:gd name="connsiteY40" fmla="*/ 538046 h 918344"/>
              <a:gd name="connsiteX41" fmla="*/ 2768713 w 9517857"/>
              <a:gd name="connsiteY41" fmla="*/ 521563 h 918344"/>
              <a:gd name="connsiteX42" fmla="*/ 2820868 w 9517857"/>
              <a:gd name="connsiteY42" fmla="*/ 514148 h 918344"/>
              <a:gd name="connsiteX43" fmla="*/ 3073635 w 9517857"/>
              <a:gd name="connsiteY43" fmla="*/ 491282 h 918344"/>
              <a:gd name="connsiteX44" fmla="*/ 3222071 w 9517857"/>
              <a:gd name="connsiteY44" fmla="*/ 470547 h 918344"/>
              <a:gd name="connsiteX45" fmla="*/ 3274069 w 9517857"/>
              <a:gd name="connsiteY45" fmla="*/ 451593 h 918344"/>
              <a:gd name="connsiteX46" fmla="*/ 3349632 w 9517857"/>
              <a:gd name="connsiteY46" fmla="*/ 432571 h 918344"/>
              <a:gd name="connsiteX47" fmla="*/ 3479593 w 9517857"/>
              <a:gd name="connsiteY47" fmla="*/ 390425 h 918344"/>
              <a:gd name="connsiteX48" fmla="*/ 3660110 w 9517857"/>
              <a:gd name="connsiteY48" fmla="*/ 348714 h 918344"/>
              <a:gd name="connsiteX49" fmla="*/ 3750023 w 9517857"/>
              <a:gd name="connsiteY49" fmla="*/ 370666 h 918344"/>
              <a:gd name="connsiteX50" fmla="*/ 3844133 w 9517857"/>
              <a:gd name="connsiteY50" fmla="*/ 360636 h 918344"/>
              <a:gd name="connsiteX51" fmla="*/ 3913545 w 9517857"/>
              <a:gd name="connsiteY51" fmla="*/ 344223 h 918344"/>
              <a:gd name="connsiteX52" fmla="*/ 4266740 w 9517857"/>
              <a:gd name="connsiteY52" fmla="*/ 361442 h 918344"/>
              <a:gd name="connsiteX53" fmla="*/ 4430770 w 9517857"/>
              <a:gd name="connsiteY53" fmla="*/ 342631 h 918344"/>
              <a:gd name="connsiteX54" fmla="*/ 4512664 w 9517857"/>
              <a:gd name="connsiteY54" fmla="*/ 319936 h 918344"/>
              <a:gd name="connsiteX55" fmla="*/ 4616423 w 9517857"/>
              <a:gd name="connsiteY55" fmla="*/ 290902 h 918344"/>
              <a:gd name="connsiteX56" fmla="*/ 4691675 w 9517857"/>
              <a:gd name="connsiteY56" fmla="*/ 253999 h 918344"/>
              <a:gd name="connsiteX57" fmla="*/ 4689051 w 9517857"/>
              <a:gd name="connsiteY57" fmla="*/ 250956 h 918344"/>
              <a:gd name="connsiteX58" fmla="*/ 4719994 w 9517857"/>
              <a:gd name="connsiteY58" fmla="*/ 245295 h 918344"/>
              <a:gd name="connsiteX59" fmla="*/ 4752894 w 9517857"/>
              <a:gd name="connsiteY59" fmla="*/ 239863 h 918344"/>
              <a:gd name="connsiteX60" fmla="*/ 4769329 w 9517857"/>
              <a:gd name="connsiteY60" fmla="*/ 233573 h 918344"/>
              <a:gd name="connsiteX61" fmla="*/ 4775634 w 9517857"/>
              <a:gd name="connsiteY61" fmla="*/ 234051 h 918344"/>
              <a:gd name="connsiteX62" fmla="*/ 4790452 w 9517857"/>
              <a:gd name="connsiteY62" fmla="*/ 233560 h 918344"/>
              <a:gd name="connsiteX63" fmla="*/ 4789062 w 9517857"/>
              <a:gd name="connsiteY63" fmla="*/ 241912 h 918344"/>
              <a:gd name="connsiteX64" fmla="*/ 4827826 w 9517857"/>
              <a:gd name="connsiteY64" fmla="*/ 246965 h 918344"/>
              <a:gd name="connsiteX65" fmla="*/ 4892569 w 9517857"/>
              <a:gd name="connsiteY65" fmla="*/ 249921 h 918344"/>
              <a:gd name="connsiteX66" fmla="*/ 4896611 w 9517857"/>
              <a:gd name="connsiteY66" fmla="*/ 240436 h 918344"/>
              <a:gd name="connsiteX67" fmla="*/ 4917286 w 9517857"/>
              <a:gd name="connsiteY67" fmla="*/ 243647 h 918344"/>
              <a:gd name="connsiteX68" fmla="*/ 4981173 w 9517857"/>
              <a:gd name="connsiteY68" fmla="*/ 247091 h 918344"/>
              <a:gd name="connsiteX69" fmla="*/ 5060397 w 9517857"/>
              <a:gd name="connsiteY69" fmla="*/ 263676 h 918344"/>
              <a:gd name="connsiteX70" fmla="*/ 5252996 w 9517857"/>
              <a:gd name="connsiteY70" fmla="*/ 270643 h 918344"/>
              <a:gd name="connsiteX71" fmla="*/ 5358056 w 9517857"/>
              <a:gd name="connsiteY71" fmla="*/ 247236 h 918344"/>
              <a:gd name="connsiteX72" fmla="*/ 5426496 w 9517857"/>
              <a:gd name="connsiteY72" fmla="*/ 235130 h 918344"/>
              <a:gd name="connsiteX73" fmla="*/ 5497161 w 9517857"/>
              <a:gd name="connsiteY73" fmla="*/ 228796 h 918344"/>
              <a:gd name="connsiteX74" fmla="*/ 5826043 w 9517857"/>
              <a:gd name="connsiteY74" fmla="*/ 148061 h 918344"/>
              <a:gd name="connsiteX75" fmla="*/ 6013415 w 9517857"/>
              <a:gd name="connsiteY75" fmla="*/ 137304 h 918344"/>
              <a:gd name="connsiteX76" fmla="*/ 6080994 w 9517857"/>
              <a:gd name="connsiteY76" fmla="*/ 142926 h 918344"/>
              <a:gd name="connsiteX77" fmla="*/ 6194152 w 9517857"/>
              <a:gd name="connsiteY77" fmla="*/ 151760 h 918344"/>
              <a:gd name="connsiteX78" fmla="*/ 6281379 w 9517857"/>
              <a:gd name="connsiteY78" fmla="*/ 181614 h 918344"/>
              <a:gd name="connsiteX79" fmla="*/ 6374947 w 9517857"/>
              <a:gd name="connsiteY79" fmla="*/ 179787 h 918344"/>
              <a:gd name="connsiteX80" fmla="*/ 6448518 w 9517857"/>
              <a:gd name="connsiteY80" fmla="*/ 164366 h 918344"/>
              <a:gd name="connsiteX81" fmla="*/ 6544700 w 9517857"/>
              <a:gd name="connsiteY81" fmla="*/ 167149 h 918344"/>
              <a:gd name="connsiteX82" fmla="*/ 6648353 w 9517857"/>
              <a:gd name="connsiteY82" fmla="*/ 172238 h 918344"/>
              <a:gd name="connsiteX83" fmla="*/ 6736227 w 9517857"/>
              <a:gd name="connsiteY83" fmla="*/ 173204 h 918344"/>
              <a:gd name="connsiteX84" fmla="*/ 6977218 w 9517857"/>
              <a:gd name="connsiteY84" fmla="*/ 184277 h 918344"/>
              <a:gd name="connsiteX85" fmla="*/ 7065221 w 9517857"/>
              <a:gd name="connsiteY85" fmla="*/ 227519 h 918344"/>
              <a:gd name="connsiteX86" fmla="*/ 7565449 w 9517857"/>
              <a:gd name="connsiteY86" fmla="*/ 258938 h 918344"/>
              <a:gd name="connsiteX87" fmla="*/ 7599285 w 9517857"/>
              <a:gd name="connsiteY87" fmla="*/ 266009 h 918344"/>
              <a:gd name="connsiteX88" fmla="*/ 7644411 w 9517857"/>
              <a:gd name="connsiteY88" fmla="*/ 258974 h 918344"/>
              <a:gd name="connsiteX89" fmla="*/ 7825110 w 9517857"/>
              <a:gd name="connsiteY89" fmla="*/ 229097 h 918344"/>
              <a:gd name="connsiteX90" fmla="*/ 7965804 w 9517857"/>
              <a:gd name="connsiteY90" fmla="*/ 190533 h 918344"/>
              <a:gd name="connsiteX91" fmla="*/ 8147401 w 9517857"/>
              <a:gd name="connsiteY91" fmla="*/ 205605 h 918344"/>
              <a:gd name="connsiteX92" fmla="*/ 8256033 w 9517857"/>
              <a:gd name="connsiteY92" fmla="*/ 193701 h 918344"/>
              <a:gd name="connsiteX93" fmla="*/ 8551625 w 9517857"/>
              <a:gd name="connsiteY93" fmla="*/ 161505 h 918344"/>
              <a:gd name="connsiteX94" fmla="*/ 8715976 w 9517857"/>
              <a:gd name="connsiteY94" fmla="*/ 178362 h 918344"/>
              <a:gd name="connsiteX95" fmla="*/ 8778827 w 9517857"/>
              <a:gd name="connsiteY95" fmla="*/ 172924 h 918344"/>
              <a:gd name="connsiteX96" fmla="*/ 8840778 w 9517857"/>
              <a:gd name="connsiteY96" fmla="*/ 143137 h 918344"/>
              <a:gd name="connsiteX97" fmla="*/ 9010380 w 9517857"/>
              <a:gd name="connsiteY97" fmla="*/ 91879 h 918344"/>
              <a:gd name="connsiteX98" fmla="*/ 9110856 w 9517857"/>
              <a:gd name="connsiteY98" fmla="*/ 70985 h 918344"/>
              <a:gd name="connsiteX99" fmla="*/ 9268817 w 9517857"/>
              <a:gd name="connsiteY99" fmla="*/ 53070 h 918344"/>
              <a:gd name="connsiteX100" fmla="*/ 9316667 w 9517857"/>
              <a:gd name="connsiteY100" fmla="*/ 45035 h 918344"/>
              <a:gd name="connsiteX101" fmla="*/ 9428209 w 9517857"/>
              <a:gd name="connsiteY101" fmla="*/ 29911 h 918344"/>
              <a:gd name="connsiteX0" fmla="*/ 4686423 w 9517857"/>
              <a:gd name="connsiteY0" fmla="*/ 247907 h 918344"/>
              <a:gd name="connsiteX1" fmla="*/ 4689051 w 9517857"/>
              <a:gd name="connsiteY1" fmla="*/ 250956 h 918344"/>
              <a:gd name="connsiteX2" fmla="*/ 4687244 w 9517857"/>
              <a:gd name="connsiteY2" fmla="*/ 251286 h 918344"/>
              <a:gd name="connsiteX3" fmla="*/ 4686423 w 9517857"/>
              <a:gd name="connsiteY3" fmla="*/ 247907 h 918344"/>
              <a:gd name="connsiteX4" fmla="*/ 4685225 w 9517857"/>
              <a:gd name="connsiteY4" fmla="*/ 246518 h 918344"/>
              <a:gd name="connsiteX5" fmla="*/ 4686133 w 9517857"/>
              <a:gd name="connsiteY5" fmla="*/ 246715 h 918344"/>
              <a:gd name="connsiteX6" fmla="*/ 4686423 w 9517857"/>
              <a:gd name="connsiteY6" fmla="*/ 247907 h 918344"/>
              <a:gd name="connsiteX7" fmla="*/ 4685225 w 9517857"/>
              <a:gd name="connsiteY7" fmla="*/ 246518 h 918344"/>
              <a:gd name="connsiteX8" fmla="*/ 9428209 w 9517857"/>
              <a:gd name="connsiteY8" fmla="*/ 29911 h 918344"/>
              <a:gd name="connsiteX9" fmla="*/ 9517857 w 9517857"/>
              <a:gd name="connsiteY9" fmla="*/ 0 h 918344"/>
              <a:gd name="connsiteX10" fmla="*/ 9517857 w 9517857"/>
              <a:gd name="connsiteY10" fmla="*/ 918344 h 918344"/>
              <a:gd name="connsiteX11" fmla="*/ 14604 w 9517857"/>
              <a:gd name="connsiteY11" fmla="*/ 918344 h 918344"/>
              <a:gd name="connsiteX12" fmla="*/ 12841 w 9517857"/>
              <a:gd name="connsiteY12" fmla="*/ 917751 h 918344"/>
              <a:gd name="connsiteX13" fmla="*/ 93 w 9517857"/>
              <a:gd name="connsiteY13" fmla="*/ 912459 h 918344"/>
              <a:gd name="connsiteX14" fmla="*/ 58674 w 9517857"/>
              <a:gd name="connsiteY14" fmla="*/ 890310 h 918344"/>
              <a:gd name="connsiteX15" fmla="*/ 275005 w 9517857"/>
              <a:gd name="connsiteY15" fmla="*/ 807217 h 918344"/>
              <a:gd name="connsiteX16" fmla="*/ 587824 w 9517857"/>
              <a:gd name="connsiteY16" fmla="*/ 798183 h 918344"/>
              <a:gd name="connsiteX17" fmla="*/ 651826 w 9517857"/>
              <a:gd name="connsiteY17" fmla="*/ 738326 h 918344"/>
              <a:gd name="connsiteX18" fmla="*/ 727985 w 9517857"/>
              <a:gd name="connsiteY18" fmla="*/ 719814 h 918344"/>
              <a:gd name="connsiteX19" fmla="*/ 778982 w 9517857"/>
              <a:gd name="connsiteY19" fmla="*/ 710130 h 918344"/>
              <a:gd name="connsiteX20" fmla="*/ 849944 w 9517857"/>
              <a:gd name="connsiteY20" fmla="*/ 717975 h 918344"/>
              <a:gd name="connsiteX21" fmla="*/ 921659 w 9517857"/>
              <a:gd name="connsiteY21" fmla="*/ 712683 h 918344"/>
              <a:gd name="connsiteX22" fmla="*/ 930946 w 9517857"/>
              <a:gd name="connsiteY22" fmla="*/ 734034 h 918344"/>
              <a:gd name="connsiteX23" fmla="*/ 986250 w 9517857"/>
              <a:gd name="connsiteY23" fmla="*/ 713518 h 918344"/>
              <a:gd name="connsiteX24" fmla="*/ 1013752 w 9517857"/>
              <a:gd name="connsiteY24" fmla="*/ 713349 h 918344"/>
              <a:gd name="connsiteX25" fmla="*/ 1023734 w 9517857"/>
              <a:gd name="connsiteY25" fmla="*/ 718559 h 918344"/>
              <a:gd name="connsiteX26" fmla="*/ 1063207 w 9517857"/>
              <a:gd name="connsiteY26" fmla="*/ 715639 h 918344"/>
              <a:gd name="connsiteX27" fmla="*/ 1081980 w 9517857"/>
              <a:gd name="connsiteY27" fmla="*/ 738443 h 918344"/>
              <a:gd name="connsiteX28" fmla="*/ 1218120 w 9517857"/>
              <a:gd name="connsiteY28" fmla="*/ 713268 h 918344"/>
              <a:gd name="connsiteX29" fmla="*/ 1397459 w 9517857"/>
              <a:gd name="connsiteY29" fmla="*/ 691178 h 918344"/>
              <a:gd name="connsiteX30" fmla="*/ 1580688 w 9517857"/>
              <a:gd name="connsiteY30" fmla="*/ 693685 h 918344"/>
              <a:gd name="connsiteX31" fmla="*/ 1772334 w 9517857"/>
              <a:gd name="connsiteY31" fmla="*/ 710628 h 918344"/>
              <a:gd name="connsiteX32" fmla="*/ 2002561 w 9517857"/>
              <a:gd name="connsiteY32" fmla="*/ 659905 h 918344"/>
              <a:gd name="connsiteX33" fmla="*/ 2135144 w 9517857"/>
              <a:gd name="connsiteY33" fmla="*/ 636489 h 918344"/>
              <a:gd name="connsiteX34" fmla="*/ 2440292 w 9517857"/>
              <a:gd name="connsiteY34" fmla="*/ 593850 h 918344"/>
              <a:gd name="connsiteX35" fmla="*/ 2547829 w 9517857"/>
              <a:gd name="connsiteY35" fmla="*/ 566138 h 918344"/>
              <a:gd name="connsiteX36" fmla="*/ 2658055 w 9517857"/>
              <a:gd name="connsiteY36" fmla="*/ 578715 h 918344"/>
              <a:gd name="connsiteX37" fmla="*/ 2693698 w 9517857"/>
              <a:gd name="connsiteY37" fmla="*/ 560017 h 918344"/>
              <a:gd name="connsiteX38" fmla="*/ 2699673 w 9517857"/>
              <a:gd name="connsiteY38" fmla="*/ 556388 h 918344"/>
              <a:gd name="connsiteX39" fmla="*/ 2727306 w 9517857"/>
              <a:gd name="connsiteY39" fmla="*/ 550686 h 918344"/>
              <a:gd name="connsiteX40" fmla="*/ 2730451 w 9517857"/>
              <a:gd name="connsiteY40" fmla="*/ 538046 h 918344"/>
              <a:gd name="connsiteX41" fmla="*/ 2768713 w 9517857"/>
              <a:gd name="connsiteY41" fmla="*/ 521563 h 918344"/>
              <a:gd name="connsiteX42" fmla="*/ 2820868 w 9517857"/>
              <a:gd name="connsiteY42" fmla="*/ 514148 h 918344"/>
              <a:gd name="connsiteX43" fmla="*/ 3073635 w 9517857"/>
              <a:gd name="connsiteY43" fmla="*/ 491282 h 918344"/>
              <a:gd name="connsiteX44" fmla="*/ 3222071 w 9517857"/>
              <a:gd name="connsiteY44" fmla="*/ 470547 h 918344"/>
              <a:gd name="connsiteX45" fmla="*/ 3274069 w 9517857"/>
              <a:gd name="connsiteY45" fmla="*/ 451593 h 918344"/>
              <a:gd name="connsiteX46" fmla="*/ 3349632 w 9517857"/>
              <a:gd name="connsiteY46" fmla="*/ 432571 h 918344"/>
              <a:gd name="connsiteX47" fmla="*/ 3479593 w 9517857"/>
              <a:gd name="connsiteY47" fmla="*/ 390425 h 918344"/>
              <a:gd name="connsiteX48" fmla="*/ 3660110 w 9517857"/>
              <a:gd name="connsiteY48" fmla="*/ 348714 h 918344"/>
              <a:gd name="connsiteX49" fmla="*/ 3750023 w 9517857"/>
              <a:gd name="connsiteY49" fmla="*/ 370666 h 918344"/>
              <a:gd name="connsiteX50" fmla="*/ 3844133 w 9517857"/>
              <a:gd name="connsiteY50" fmla="*/ 360636 h 918344"/>
              <a:gd name="connsiteX51" fmla="*/ 3913545 w 9517857"/>
              <a:gd name="connsiteY51" fmla="*/ 344223 h 918344"/>
              <a:gd name="connsiteX52" fmla="*/ 4266740 w 9517857"/>
              <a:gd name="connsiteY52" fmla="*/ 361442 h 918344"/>
              <a:gd name="connsiteX53" fmla="*/ 4430770 w 9517857"/>
              <a:gd name="connsiteY53" fmla="*/ 342631 h 918344"/>
              <a:gd name="connsiteX54" fmla="*/ 4512664 w 9517857"/>
              <a:gd name="connsiteY54" fmla="*/ 319936 h 918344"/>
              <a:gd name="connsiteX55" fmla="*/ 4616423 w 9517857"/>
              <a:gd name="connsiteY55" fmla="*/ 290902 h 918344"/>
              <a:gd name="connsiteX56" fmla="*/ 4691675 w 9517857"/>
              <a:gd name="connsiteY56" fmla="*/ 253999 h 918344"/>
              <a:gd name="connsiteX57" fmla="*/ 4689051 w 9517857"/>
              <a:gd name="connsiteY57" fmla="*/ 250956 h 918344"/>
              <a:gd name="connsiteX58" fmla="*/ 4719994 w 9517857"/>
              <a:gd name="connsiteY58" fmla="*/ 245295 h 918344"/>
              <a:gd name="connsiteX59" fmla="*/ 4752894 w 9517857"/>
              <a:gd name="connsiteY59" fmla="*/ 239863 h 918344"/>
              <a:gd name="connsiteX60" fmla="*/ 4769329 w 9517857"/>
              <a:gd name="connsiteY60" fmla="*/ 233573 h 918344"/>
              <a:gd name="connsiteX61" fmla="*/ 4775634 w 9517857"/>
              <a:gd name="connsiteY61" fmla="*/ 234051 h 918344"/>
              <a:gd name="connsiteX62" fmla="*/ 4790452 w 9517857"/>
              <a:gd name="connsiteY62" fmla="*/ 233560 h 918344"/>
              <a:gd name="connsiteX63" fmla="*/ 4789062 w 9517857"/>
              <a:gd name="connsiteY63" fmla="*/ 241912 h 918344"/>
              <a:gd name="connsiteX64" fmla="*/ 4827826 w 9517857"/>
              <a:gd name="connsiteY64" fmla="*/ 246965 h 918344"/>
              <a:gd name="connsiteX65" fmla="*/ 4892569 w 9517857"/>
              <a:gd name="connsiteY65" fmla="*/ 249921 h 918344"/>
              <a:gd name="connsiteX66" fmla="*/ 4896611 w 9517857"/>
              <a:gd name="connsiteY66" fmla="*/ 240436 h 918344"/>
              <a:gd name="connsiteX67" fmla="*/ 4917286 w 9517857"/>
              <a:gd name="connsiteY67" fmla="*/ 243647 h 918344"/>
              <a:gd name="connsiteX68" fmla="*/ 5060397 w 9517857"/>
              <a:gd name="connsiteY68" fmla="*/ 263676 h 918344"/>
              <a:gd name="connsiteX69" fmla="*/ 5252996 w 9517857"/>
              <a:gd name="connsiteY69" fmla="*/ 270643 h 918344"/>
              <a:gd name="connsiteX70" fmla="*/ 5358056 w 9517857"/>
              <a:gd name="connsiteY70" fmla="*/ 247236 h 918344"/>
              <a:gd name="connsiteX71" fmla="*/ 5426496 w 9517857"/>
              <a:gd name="connsiteY71" fmla="*/ 235130 h 918344"/>
              <a:gd name="connsiteX72" fmla="*/ 5497161 w 9517857"/>
              <a:gd name="connsiteY72" fmla="*/ 228796 h 918344"/>
              <a:gd name="connsiteX73" fmla="*/ 5826043 w 9517857"/>
              <a:gd name="connsiteY73" fmla="*/ 148061 h 918344"/>
              <a:gd name="connsiteX74" fmla="*/ 6013415 w 9517857"/>
              <a:gd name="connsiteY74" fmla="*/ 137304 h 918344"/>
              <a:gd name="connsiteX75" fmla="*/ 6080994 w 9517857"/>
              <a:gd name="connsiteY75" fmla="*/ 142926 h 918344"/>
              <a:gd name="connsiteX76" fmla="*/ 6194152 w 9517857"/>
              <a:gd name="connsiteY76" fmla="*/ 151760 h 918344"/>
              <a:gd name="connsiteX77" fmla="*/ 6281379 w 9517857"/>
              <a:gd name="connsiteY77" fmla="*/ 181614 h 918344"/>
              <a:gd name="connsiteX78" fmla="*/ 6374947 w 9517857"/>
              <a:gd name="connsiteY78" fmla="*/ 179787 h 918344"/>
              <a:gd name="connsiteX79" fmla="*/ 6448518 w 9517857"/>
              <a:gd name="connsiteY79" fmla="*/ 164366 h 918344"/>
              <a:gd name="connsiteX80" fmla="*/ 6544700 w 9517857"/>
              <a:gd name="connsiteY80" fmla="*/ 167149 h 918344"/>
              <a:gd name="connsiteX81" fmla="*/ 6648353 w 9517857"/>
              <a:gd name="connsiteY81" fmla="*/ 172238 h 918344"/>
              <a:gd name="connsiteX82" fmla="*/ 6736227 w 9517857"/>
              <a:gd name="connsiteY82" fmla="*/ 173204 h 918344"/>
              <a:gd name="connsiteX83" fmla="*/ 6977218 w 9517857"/>
              <a:gd name="connsiteY83" fmla="*/ 184277 h 918344"/>
              <a:gd name="connsiteX84" fmla="*/ 7065221 w 9517857"/>
              <a:gd name="connsiteY84" fmla="*/ 227519 h 918344"/>
              <a:gd name="connsiteX85" fmla="*/ 7565449 w 9517857"/>
              <a:gd name="connsiteY85" fmla="*/ 258938 h 918344"/>
              <a:gd name="connsiteX86" fmla="*/ 7599285 w 9517857"/>
              <a:gd name="connsiteY86" fmla="*/ 266009 h 918344"/>
              <a:gd name="connsiteX87" fmla="*/ 7644411 w 9517857"/>
              <a:gd name="connsiteY87" fmla="*/ 258974 h 918344"/>
              <a:gd name="connsiteX88" fmla="*/ 7825110 w 9517857"/>
              <a:gd name="connsiteY88" fmla="*/ 229097 h 918344"/>
              <a:gd name="connsiteX89" fmla="*/ 7965804 w 9517857"/>
              <a:gd name="connsiteY89" fmla="*/ 190533 h 918344"/>
              <a:gd name="connsiteX90" fmla="*/ 8147401 w 9517857"/>
              <a:gd name="connsiteY90" fmla="*/ 205605 h 918344"/>
              <a:gd name="connsiteX91" fmla="*/ 8256033 w 9517857"/>
              <a:gd name="connsiteY91" fmla="*/ 193701 h 918344"/>
              <a:gd name="connsiteX92" fmla="*/ 8551625 w 9517857"/>
              <a:gd name="connsiteY92" fmla="*/ 161505 h 918344"/>
              <a:gd name="connsiteX93" fmla="*/ 8715976 w 9517857"/>
              <a:gd name="connsiteY93" fmla="*/ 178362 h 918344"/>
              <a:gd name="connsiteX94" fmla="*/ 8778827 w 9517857"/>
              <a:gd name="connsiteY94" fmla="*/ 172924 h 918344"/>
              <a:gd name="connsiteX95" fmla="*/ 8840778 w 9517857"/>
              <a:gd name="connsiteY95" fmla="*/ 143137 h 918344"/>
              <a:gd name="connsiteX96" fmla="*/ 9010380 w 9517857"/>
              <a:gd name="connsiteY96" fmla="*/ 91879 h 918344"/>
              <a:gd name="connsiteX97" fmla="*/ 9110856 w 9517857"/>
              <a:gd name="connsiteY97" fmla="*/ 70985 h 918344"/>
              <a:gd name="connsiteX98" fmla="*/ 9268817 w 9517857"/>
              <a:gd name="connsiteY98" fmla="*/ 53070 h 918344"/>
              <a:gd name="connsiteX99" fmla="*/ 9316667 w 9517857"/>
              <a:gd name="connsiteY99" fmla="*/ 45035 h 918344"/>
              <a:gd name="connsiteX100" fmla="*/ 9428209 w 9517857"/>
              <a:gd name="connsiteY100" fmla="*/ 29911 h 918344"/>
              <a:gd name="connsiteX0" fmla="*/ 4686423 w 9517857"/>
              <a:gd name="connsiteY0" fmla="*/ 247907 h 918344"/>
              <a:gd name="connsiteX1" fmla="*/ 4689051 w 9517857"/>
              <a:gd name="connsiteY1" fmla="*/ 250956 h 918344"/>
              <a:gd name="connsiteX2" fmla="*/ 4687244 w 9517857"/>
              <a:gd name="connsiteY2" fmla="*/ 251286 h 918344"/>
              <a:gd name="connsiteX3" fmla="*/ 4686423 w 9517857"/>
              <a:gd name="connsiteY3" fmla="*/ 247907 h 918344"/>
              <a:gd name="connsiteX4" fmla="*/ 4685225 w 9517857"/>
              <a:gd name="connsiteY4" fmla="*/ 246518 h 918344"/>
              <a:gd name="connsiteX5" fmla="*/ 4686133 w 9517857"/>
              <a:gd name="connsiteY5" fmla="*/ 246715 h 918344"/>
              <a:gd name="connsiteX6" fmla="*/ 4686423 w 9517857"/>
              <a:gd name="connsiteY6" fmla="*/ 247907 h 918344"/>
              <a:gd name="connsiteX7" fmla="*/ 4685225 w 9517857"/>
              <a:gd name="connsiteY7" fmla="*/ 246518 h 918344"/>
              <a:gd name="connsiteX8" fmla="*/ 9428209 w 9517857"/>
              <a:gd name="connsiteY8" fmla="*/ 29911 h 918344"/>
              <a:gd name="connsiteX9" fmla="*/ 9517857 w 9517857"/>
              <a:gd name="connsiteY9" fmla="*/ 0 h 918344"/>
              <a:gd name="connsiteX10" fmla="*/ 9517857 w 9517857"/>
              <a:gd name="connsiteY10" fmla="*/ 918344 h 918344"/>
              <a:gd name="connsiteX11" fmla="*/ 14604 w 9517857"/>
              <a:gd name="connsiteY11" fmla="*/ 918344 h 918344"/>
              <a:gd name="connsiteX12" fmla="*/ 12841 w 9517857"/>
              <a:gd name="connsiteY12" fmla="*/ 917751 h 918344"/>
              <a:gd name="connsiteX13" fmla="*/ 93 w 9517857"/>
              <a:gd name="connsiteY13" fmla="*/ 912459 h 918344"/>
              <a:gd name="connsiteX14" fmla="*/ 58674 w 9517857"/>
              <a:gd name="connsiteY14" fmla="*/ 890310 h 918344"/>
              <a:gd name="connsiteX15" fmla="*/ 275005 w 9517857"/>
              <a:gd name="connsiteY15" fmla="*/ 807217 h 918344"/>
              <a:gd name="connsiteX16" fmla="*/ 587824 w 9517857"/>
              <a:gd name="connsiteY16" fmla="*/ 798183 h 918344"/>
              <a:gd name="connsiteX17" fmla="*/ 651826 w 9517857"/>
              <a:gd name="connsiteY17" fmla="*/ 738326 h 918344"/>
              <a:gd name="connsiteX18" fmla="*/ 727985 w 9517857"/>
              <a:gd name="connsiteY18" fmla="*/ 719814 h 918344"/>
              <a:gd name="connsiteX19" fmla="*/ 778982 w 9517857"/>
              <a:gd name="connsiteY19" fmla="*/ 710130 h 918344"/>
              <a:gd name="connsiteX20" fmla="*/ 849944 w 9517857"/>
              <a:gd name="connsiteY20" fmla="*/ 717975 h 918344"/>
              <a:gd name="connsiteX21" fmla="*/ 921659 w 9517857"/>
              <a:gd name="connsiteY21" fmla="*/ 712683 h 918344"/>
              <a:gd name="connsiteX22" fmla="*/ 930946 w 9517857"/>
              <a:gd name="connsiteY22" fmla="*/ 734034 h 918344"/>
              <a:gd name="connsiteX23" fmla="*/ 986250 w 9517857"/>
              <a:gd name="connsiteY23" fmla="*/ 713518 h 918344"/>
              <a:gd name="connsiteX24" fmla="*/ 1013752 w 9517857"/>
              <a:gd name="connsiteY24" fmla="*/ 713349 h 918344"/>
              <a:gd name="connsiteX25" fmla="*/ 1023734 w 9517857"/>
              <a:gd name="connsiteY25" fmla="*/ 718559 h 918344"/>
              <a:gd name="connsiteX26" fmla="*/ 1063207 w 9517857"/>
              <a:gd name="connsiteY26" fmla="*/ 715639 h 918344"/>
              <a:gd name="connsiteX27" fmla="*/ 1081980 w 9517857"/>
              <a:gd name="connsiteY27" fmla="*/ 738443 h 918344"/>
              <a:gd name="connsiteX28" fmla="*/ 1218120 w 9517857"/>
              <a:gd name="connsiteY28" fmla="*/ 713268 h 918344"/>
              <a:gd name="connsiteX29" fmla="*/ 1397459 w 9517857"/>
              <a:gd name="connsiteY29" fmla="*/ 691178 h 918344"/>
              <a:gd name="connsiteX30" fmla="*/ 1580688 w 9517857"/>
              <a:gd name="connsiteY30" fmla="*/ 693685 h 918344"/>
              <a:gd name="connsiteX31" fmla="*/ 1772334 w 9517857"/>
              <a:gd name="connsiteY31" fmla="*/ 710628 h 918344"/>
              <a:gd name="connsiteX32" fmla="*/ 2002561 w 9517857"/>
              <a:gd name="connsiteY32" fmla="*/ 659905 h 918344"/>
              <a:gd name="connsiteX33" fmla="*/ 2135144 w 9517857"/>
              <a:gd name="connsiteY33" fmla="*/ 636489 h 918344"/>
              <a:gd name="connsiteX34" fmla="*/ 2440292 w 9517857"/>
              <a:gd name="connsiteY34" fmla="*/ 593850 h 918344"/>
              <a:gd name="connsiteX35" fmla="*/ 2547829 w 9517857"/>
              <a:gd name="connsiteY35" fmla="*/ 566138 h 918344"/>
              <a:gd name="connsiteX36" fmla="*/ 2658055 w 9517857"/>
              <a:gd name="connsiteY36" fmla="*/ 578715 h 918344"/>
              <a:gd name="connsiteX37" fmla="*/ 2693698 w 9517857"/>
              <a:gd name="connsiteY37" fmla="*/ 560017 h 918344"/>
              <a:gd name="connsiteX38" fmla="*/ 2699673 w 9517857"/>
              <a:gd name="connsiteY38" fmla="*/ 556388 h 918344"/>
              <a:gd name="connsiteX39" fmla="*/ 2727306 w 9517857"/>
              <a:gd name="connsiteY39" fmla="*/ 550686 h 918344"/>
              <a:gd name="connsiteX40" fmla="*/ 2730451 w 9517857"/>
              <a:gd name="connsiteY40" fmla="*/ 538046 h 918344"/>
              <a:gd name="connsiteX41" fmla="*/ 2768713 w 9517857"/>
              <a:gd name="connsiteY41" fmla="*/ 521563 h 918344"/>
              <a:gd name="connsiteX42" fmla="*/ 2820868 w 9517857"/>
              <a:gd name="connsiteY42" fmla="*/ 514148 h 918344"/>
              <a:gd name="connsiteX43" fmla="*/ 3073635 w 9517857"/>
              <a:gd name="connsiteY43" fmla="*/ 491282 h 918344"/>
              <a:gd name="connsiteX44" fmla="*/ 3222071 w 9517857"/>
              <a:gd name="connsiteY44" fmla="*/ 470547 h 918344"/>
              <a:gd name="connsiteX45" fmla="*/ 3274069 w 9517857"/>
              <a:gd name="connsiteY45" fmla="*/ 451593 h 918344"/>
              <a:gd name="connsiteX46" fmla="*/ 3349632 w 9517857"/>
              <a:gd name="connsiteY46" fmla="*/ 432571 h 918344"/>
              <a:gd name="connsiteX47" fmla="*/ 3479593 w 9517857"/>
              <a:gd name="connsiteY47" fmla="*/ 390425 h 918344"/>
              <a:gd name="connsiteX48" fmla="*/ 3750023 w 9517857"/>
              <a:gd name="connsiteY48" fmla="*/ 370666 h 918344"/>
              <a:gd name="connsiteX49" fmla="*/ 3844133 w 9517857"/>
              <a:gd name="connsiteY49" fmla="*/ 360636 h 918344"/>
              <a:gd name="connsiteX50" fmla="*/ 3913545 w 9517857"/>
              <a:gd name="connsiteY50" fmla="*/ 344223 h 918344"/>
              <a:gd name="connsiteX51" fmla="*/ 4266740 w 9517857"/>
              <a:gd name="connsiteY51" fmla="*/ 361442 h 918344"/>
              <a:gd name="connsiteX52" fmla="*/ 4430770 w 9517857"/>
              <a:gd name="connsiteY52" fmla="*/ 342631 h 918344"/>
              <a:gd name="connsiteX53" fmla="*/ 4512664 w 9517857"/>
              <a:gd name="connsiteY53" fmla="*/ 319936 h 918344"/>
              <a:gd name="connsiteX54" fmla="*/ 4616423 w 9517857"/>
              <a:gd name="connsiteY54" fmla="*/ 290902 h 918344"/>
              <a:gd name="connsiteX55" fmla="*/ 4691675 w 9517857"/>
              <a:gd name="connsiteY55" fmla="*/ 253999 h 918344"/>
              <a:gd name="connsiteX56" fmla="*/ 4689051 w 9517857"/>
              <a:gd name="connsiteY56" fmla="*/ 250956 h 918344"/>
              <a:gd name="connsiteX57" fmla="*/ 4719994 w 9517857"/>
              <a:gd name="connsiteY57" fmla="*/ 245295 h 918344"/>
              <a:gd name="connsiteX58" fmla="*/ 4752894 w 9517857"/>
              <a:gd name="connsiteY58" fmla="*/ 239863 h 918344"/>
              <a:gd name="connsiteX59" fmla="*/ 4769329 w 9517857"/>
              <a:gd name="connsiteY59" fmla="*/ 233573 h 918344"/>
              <a:gd name="connsiteX60" fmla="*/ 4775634 w 9517857"/>
              <a:gd name="connsiteY60" fmla="*/ 234051 h 918344"/>
              <a:gd name="connsiteX61" fmla="*/ 4790452 w 9517857"/>
              <a:gd name="connsiteY61" fmla="*/ 233560 h 918344"/>
              <a:gd name="connsiteX62" fmla="*/ 4789062 w 9517857"/>
              <a:gd name="connsiteY62" fmla="*/ 241912 h 918344"/>
              <a:gd name="connsiteX63" fmla="*/ 4827826 w 9517857"/>
              <a:gd name="connsiteY63" fmla="*/ 246965 h 918344"/>
              <a:gd name="connsiteX64" fmla="*/ 4892569 w 9517857"/>
              <a:gd name="connsiteY64" fmla="*/ 249921 h 918344"/>
              <a:gd name="connsiteX65" fmla="*/ 4896611 w 9517857"/>
              <a:gd name="connsiteY65" fmla="*/ 240436 h 918344"/>
              <a:gd name="connsiteX66" fmla="*/ 4917286 w 9517857"/>
              <a:gd name="connsiteY66" fmla="*/ 243647 h 918344"/>
              <a:gd name="connsiteX67" fmla="*/ 5060397 w 9517857"/>
              <a:gd name="connsiteY67" fmla="*/ 263676 h 918344"/>
              <a:gd name="connsiteX68" fmla="*/ 5252996 w 9517857"/>
              <a:gd name="connsiteY68" fmla="*/ 270643 h 918344"/>
              <a:gd name="connsiteX69" fmla="*/ 5358056 w 9517857"/>
              <a:gd name="connsiteY69" fmla="*/ 247236 h 918344"/>
              <a:gd name="connsiteX70" fmla="*/ 5426496 w 9517857"/>
              <a:gd name="connsiteY70" fmla="*/ 235130 h 918344"/>
              <a:gd name="connsiteX71" fmla="*/ 5497161 w 9517857"/>
              <a:gd name="connsiteY71" fmla="*/ 228796 h 918344"/>
              <a:gd name="connsiteX72" fmla="*/ 5826043 w 9517857"/>
              <a:gd name="connsiteY72" fmla="*/ 148061 h 918344"/>
              <a:gd name="connsiteX73" fmla="*/ 6013415 w 9517857"/>
              <a:gd name="connsiteY73" fmla="*/ 137304 h 918344"/>
              <a:gd name="connsiteX74" fmla="*/ 6080994 w 9517857"/>
              <a:gd name="connsiteY74" fmla="*/ 142926 h 918344"/>
              <a:gd name="connsiteX75" fmla="*/ 6194152 w 9517857"/>
              <a:gd name="connsiteY75" fmla="*/ 151760 h 918344"/>
              <a:gd name="connsiteX76" fmla="*/ 6281379 w 9517857"/>
              <a:gd name="connsiteY76" fmla="*/ 181614 h 918344"/>
              <a:gd name="connsiteX77" fmla="*/ 6374947 w 9517857"/>
              <a:gd name="connsiteY77" fmla="*/ 179787 h 918344"/>
              <a:gd name="connsiteX78" fmla="*/ 6448518 w 9517857"/>
              <a:gd name="connsiteY78" fmla="*/ 164366 h 918344"/>
              <a:gd name="connsiteX79" fmla="*/ 6544700 w 9517857"/>
              <a:gd name="connsiteY79" fmla="*/ 167149 h 918344"/>
              <a:gd name="connsiteX80" fmla="*/ 6648353 w 9517857"/>
              <a:gd name="connsiteY80" fmla="*/ 172238 h 918344"/>
              <a:gd name="connsiteX81" fmla="*/ 6736227 w 9517857"/>
              <a:gd name="connsiteY81" fmla="*/ 173204 h 918344"/>
              <a:gd name="connsiteX82" fmla="*/ 6977218 w 9517857"/>
              <a:gd name="connsiteY82" fmla="*/ 184277 h 918344"/>
              <a:gd name="connsiteX83" fmla="*/ 7065221 w 9517857"/>
              <a:gd name="connsiteY83" fmla="*/ 227519 h 918344"/>
              <a:gd name="connsiteX84" fmla="*/ 7565449 w 9517857"/>
              <a:gd name="connsiteY84" fmla="*/ 258938 h 918344"/>
              <a:gd name="connsiteX85" fmla="*/ 7599285 w 9517857"/>
              <a:gd name="connsiteY85" fmla="*/ 266009 h 918344"/>
              <a:gd name="connsiteX86" fmla="*/ 7644411 w 9517857"/>
              <a:gd name="connsiteY86" fmla="*/ 258974 h 918344"/>
              <a:gd name="connsiteX87" fmla="*/ 7825110 w 9517857"/>
              <a:gd name="connsiteY87" fmla="*/ 229097 h 918344"/>
              <a:gd name="connsiteX88" fmla="*/ 7965804 w 9517857"/>
              <a:gd name="connsiteY88" fmla="*/ 190533 h 918344"/>
              <a:gd name="connsiteX89" fmla="*/ 8147401 w 9517857"/>
              <a:gd name="connsiteY89" fmla="*/ 205605 h 918344"/>
              <a:gd name="connsiteX90" fmla="*/ 8256033 w 9517857"/>
              <a:gd name="connsiteY90" fmla="*/ 193701 h 918344"/>
              <a:gd name="connsiteX91" fmla="*/ 8551625 w 9517857"/>
              <a:gd name="connsiteY91" fmla="*/ 161505 h 918344"/>
              <a:gd name="connsiteX92" fmla="*/ 8715976 w 9517857"/>
              <a:gd name="connsiteY92" fmla="*/ 178362 h 918344"/>
              <a:gd name="connsiteX93" fmla="*/ 8778827 w 9517857"/>
              <a:gd name="connsiteY93" fmla="*/ 172924 h 918344"/>
              <a:gd name="connsiteX94" fmla="*/ 8840778 w 9517857"/>
              <a:gd name="connsiteY94" fmla="*/ 143137 h 918344"/>
              <a:gd name="connsiteX95" fmla="*/ 9010380 w 9517857"/>
              <a:gd name="connsiteY95" fmla="*/ 91879 h 918344"/>
              <a:gd name="connsiteX96" fmla="*/ 9110856 w 9517857"/>
              <a:gd name="connsiteY96" fmla="*/ 70985 h 918344"/>
              <a:gd name="connsiteX97" fmla="*/ 9268817 w 9517857"/>
              <a:gd name="connsiteY97" fmla="*/ 53070 h 918344"/>
              <a:gd name="connsiteX98" fmla="*/ 9316667 w 9517857"/>
              <a:gd name="connsiteY98" fmla="*/ 45035 h 918344"/>
              <a:gd name="connsiteX99" fmla="*/ 9428209 w 9517857"/>
              <a:gd name="connsiteY99" fmla="*/ 29911 h 918344"/>
              <a:gd name="connsiteX0" fmla="*/ 4686423 w 9517857"/>
              <a:gd name="connsiteY0" fmla="*/ 247907 h 918344"/>
              <a:gd name="connsiteX1" fmla="*/ 4689051 w 9517857"/>
              <a:gd name="connsiteY1" fmla="*/ 250956 h 918344"/>
              <a:gd name="connsiteX2" fmla="*/ 4687244 w 9517857"/>
              <a:gd name="connsiteY2" fmla="*/ 251286 h 918344"/>
              <a:gd name="connsiteX3" fmla="*/ 4686423 w 9517857"/>
              <a:gd name="connsiteY3" fmla="*/ 247907 h 918344"/>
              <a:gd name="connsiteX4" fmla="*/ 4685225 w 9517857"/>
              <a:gd name="connsiteY4" fmla="*/ 246518 h 918344"/>
              <a:gd name="connsiteX5" fmla="*/ 4686133 w 9517857"/>
              <a:gd name="connsiteY5" fmla="*/ 246715 h 918344"/>
              <a:gd name="connsiteX6" fmla="*/ 4686423 w 9517857"/>
              <a:gd name="connsiteY6" fmla="*/ 247907 h 918344"/>
              <a:gd name="connsiteX7" fmla="*/ 4685225 w 9517857"/>
              <a:gd name="connsiteY7" fmla="*/ 246518 h 918344"/>
              <a:gd name="connsiteX8" fmla="*/ 9428209 w 9517857"/>
              <a:gd name="connsiteY8" fmla="*/ 29911 h 918344"/>
              <a:gd name="connsiteX9" fmla="*/ 9517857 w 9517857"/>
              <a:gd name="connsiteY9" fmla="*/ 0 h 918344"/>
              <a:gd name="connsiteX10" fmla="*/ 9517857 w 9517857"/>
              <a:gd name="connsiteY10" fmla="*/ 918344 h 918344"/>
              <a:gd name="connsiteX11" fmla="*/ 14604 w 9517857"/>
              <a:gd name="connsiteY11" fmla="*/ 918344 h 918344"/>
              <a:gd name="connsiteX12" fmla="*/ 12841 w 9517857"/>
              <a:gd name="connsiteY12" fmla="*/ 917751 h 918344"/>
              <a:gd name="connsiteX13" fmla="*/ 93 w 9517857"/>
              <a:gd name="connsiteY13" fmla="*/ 912459 h 918344"/>
              <a:gd name="connsiteX14" fmla="*/ 58674 w 9517857"/>
              <a:gd name="connsiteY14" fmla="*/ 890310 h 918344"/>
              <a:gd name="connsiteX15" fmla="*/ 275005 w 9517857"/>
              <a:gd name="connsiteY15" fmla="*/ 807217 h 918344"/>
              <a:gd name="connsiteX16" fmla="*/ 587824 w 9517857"/>
              <a:gd name="connsiteY16" fmla="*/ 798183 h 918344"/>
              <a:gd name="connsiteX17" fmla="*/ 651826 w 9517857"/>
              <a:gd name="connsiteY17" fmla="*/ 738326 h 918344"/>
              <a:gd name="connsiteX18" fmla="*/ 727985 w 9517857"/>
              <a:gd name="connsiteY18" fmla="*/ 719814 h 918344"/>
              <a:gd name="connsiteX19" fmla="*/ 778982 w 9517857"/>
              <a:gd name="connsiteY19" fmla="*/ 710130 h 918344"/>
              <a:gd name="connsiteX20" fmla="*/ 849944 w 9517857"/>
              <a:gd name="connsiteY20" fmla="*/ 717975 h 918344"/>
              <a:gd name="connsiteX21" fmla="*/ 921659 w 9517857"/>
              <a:gd name="connsiteY21" fmla="*/ 712683 h 918344"/>
              <a:gd name="connsiteX22" fmla="*/ 930946 w 9517857"/>
              <a:gd name="connsiteY22" fmla="*/ 734034 h 918344"/>
              <a:gd name="connsiteX23" fmla="*/ 986250 w 9517857"/>
              <a:gd name="connsiteY23" fmla="*/ 713518 h 918344"/>
              <a:gd name="connsiteX24" fmla="*/ 1013752 w 9517857"/>
              <a:gd name="connsiteY24" fmla="*/ 713349 h 918344"/>
              <a:gd name="connsiteX25" fmla="*/ 1023734 w 9517857"/>
              <a:gd name="connsiteY25" fmla="*/ 718559 h 918344"/>
              <a:gd name="connsiteX26" fmla="*/ 1063207 w 9517857"/>
              <a:gd name="connsiteY26" fmla="*/ 715639 h 918344"/>
              <a:gd name="connsiteX27" fmla="*/ 1081980 w 9517857"/>
              <a:gd name="connsiteY27" fmla="*/ 738443 h 918344"/>
              <a:gd name="connsiteX28" fmla="*/ 1218120 w 9517857"/>
              <a:gd name="connsiteY28" fmla="*/ 713268 h 918344"/>
              <a:gd name="connsiteX29" fmla="*/ 1397459 w 9517857"/>
              <a:gd name="connsiteY29" fmla="*/ 691178 h 918344"/>
              <a:gd name="connsiteX30" fmla="*/ 1580688 w 9517857"/>
              <a:gd name="connsiteY30" fmla="*/ 693685 h 918344"/>
              <a:gd name="connsiteX31" fmla="*/ 1772334 w 9517857"/>
              <a:gd name="connsiteY31" fmla="*/ 710628 h 918344"/>
              <a:gd name="connsiteX32" fmla="*/ 2002561 w 9517857"/>
              <a:gd name="connsiteY32" fmla="*/ 659905 h 918344"/>
              <a:gd name="connsiteX33" fmla="*/ 2135144 w 9517857"/>
              <a:gd name="connsiteY33" fmla="*/ 636489 h 918344"/>
              <a:gd name="connsiteX34" fmla="*/ 2440292 w 9517857"/>
              <a:gd name="connsiteY34" fmla="*/ 593850 h 918344"/>
              <a:gd name="connsiteX35" fmla="*/ 2547829 w 9517857"/>
              <a:gd name="connsiteY35" fmla="*/ 566138 h 918344"/>
              <a:gd name="connsiteX36" fmla="*/ 2658055 w 9517857"/>
              <a:gd name="connsiteY36" fmla="*/ 578715 h 918344"/>
              <a:gd name="connsiteX37" fmla="*/ 2693698 w 9517857"/>
              <a:gd name="connsiteY37" fmla="*/ 560017 h 918344"/>
              <a:gd name="connsiteX38" fmla="*/ 2699673 w 9517857"/>
              <a:gd name="connsiteY38" fmla="*/ 556388 h 918344"/>
              <a:gd name="connsiteX39" fmla="*/ 2727306 w 9517857"/>
              <a:gd name="connsiteY39" fmla="*/ 550686 h 918344"/>
              <a:gd name="connsiteX40" fmla="*/ 2730451 w 9517857"/>
              <a:gd name="connsiteY40" fmla="*/ 538046 h 918344"/>
              <a:gd name="connsiteX41" fmla="*/ 2768713 w 9517857"/>
              <a:gd name="connsiteY41" fmla="*/ 521563 h 918344"/>
              <a:gd name="connsiteX42" fmla="*/ 2820868 w 9517857"/>
              <a:gd name="connsiteY42" fmla="*/ 514148 h 918344"/>
              <a:gd name="connsiteX43" fmla="*/ 3073635 w 9517857"/>
              <a:gd name="connsiteY43" fmla="*/ 491282 h 918344"/>
              <a:gd name="connsiteX44" fmla="*/ 3222071 w 9517857"/>
              <a:gd name="connsiteY44" fmla="*/ 470547 h 918344"/>
              <a:gd name="connsiteX45" fmla="*/ 3274069 w 9517857"/>
              <a:gd name="connsiteY45" fmla="*/ 451593 h 918344"/>
              <a:gd name="connsiteX46" fmla="*/ 3349632 w 9517857"/>
              <a:gd name="connsiteY46" fmla="*/ 432571 h 918344"/>
              <a:gd name="connsiteX47" fmla="*/ 3479593 w 9517857"/>
              <a:gd name="connsiteY47" fmla="*/ 390425 h 918344"/>
              <a:gd name="connsiteX48" fmla="*/ 3750023 w 9517857"/>
              <a:gd name="connsiteY48" fmla="*/ 370666 h 918344"/>
              <a:gd name="connsiteX49" fmla="*/ 3844133 w 9517857"/>
              <a:gd name="connsiteY49" fmla="*/ 360636 h 918344"/>
              <a:gd name="connsiteX50" fmla="*/ 3913545 w 9517857"/>
              <a:gd name="connsiteY50" fmla="*/ 344223 h 918344"/>
              <a:gd name="connsiteX51" fmla="*/ 4266740 w 9517857"/>
              <a:gd name="connsiteY51" fmla="*/ 361442 h 918344"/>
              <a:gd name="connsiteX52" fmla="*/ 4430770 w 9517857"/>
              <a:gd name="connsiteY52" fmla="*/ 342631 h 918344"/>
              <a:gd name="connsiteX53" fmla="*/ 4512664 w 9517857"/>
              <a:gd name="connsiteY53" fmla="*/ 319936 h 918344"/>
              <a:gd name="connsiteX54" fmla="*/ 4616423 w 9517857"/>
              <a:gd name="connsiteY54" fmla="*/ 290902 h 918344"/>
              <a:gd name="connsiteX55" fmla="*/ 4691675 w 9517857"/>
              <a:gd name="connsiteY55" fmla="*/ 253999 h 918344"/>
              <a:gd name="connsiteX56" fmla="*/ 4689051 w 9517857"/>
              <a:gd name="connsiteY56" fmla="*/ 250956 h 918344"/>
              <a:gd name="connsiteX57" fmla="*/ 4719994 w 9517857"/>
              <a:gd name="connsiteY57" fmla="*/ 245295 h 918344"/>
              <a:gd name="connsiteX58" fmla="*/ 4752894 w 9517857"/>
              <a:gd name="connsiteY58" fmla="*/ 239863 h 918344"/>
              <a:gd name="connsiteX59" fmla="*/ 4769329 w 9517857"/>
              <a:gd name="connsiteY59" fmla="*/ 233573 h 918344"/>
              <a:gd name="connsiteX60" fmla="*/ 4775634 w 9517857"/>
              <a:gd name="connsiteY60" fmla="*/ 234051 h 918344"/>
              <a:gd name="connsiteX61" fmla="*/ 4790452 w 9517857"/>
              <a:gd name="connsiteY61" fmla="*/ 233560 h 918344"/>
              <a:gd name="connsiteX62" fmla="*/ 4789062 w 9517857"/>
              <a:gd name="connsiteY62" fmla="*/ 241912 h 918344"/>
              <a:gd name="connsiteX63" fmla="*/ 4827826 w 9517857"/>
              <a:gd name="connsiteY63" fmla="*/ 246965 h 918344"/>
              <a:gd name="connsiteX64" fmla="*/ 4892569 w 9517857"/>
              <a:gd name="connsiteY64" fmla="*/ 249921 h 918344"/>
              <a:gd name="connsiteX65" fmla="*/ 4896611 w 9517857"/>
              <a:gd name="connsiteY65" fmla="*/ 240436 h 918344"/>
              <a:gd name="connsiteX66" fmla="*/ 4917286 w 9517857"/>
              <a:gd name="connsiteY66" fmla="*/ 243647 h 918344"/>
              <a:gd name="connsiteX67" fmla="*/ 5060397 w 9517857"/>
              <a:gd name="connsiteY67" fmla="*/ 263676 h 918344"/>
              <a:gd name="connsiteX68" fmla="*/ 5252996 w 9517857"/>
              <a:gd name="connsiteY68" fmla="*/ 270643 h 918344"/>
              <a:gd name="connsiteX69" fmla="*/ 5358056 w 9517857"/>
              <a:gd name="connsiteY69" fmla="*/ 247236 h 918344"/>
              <a:gd name="connsiteX70" fmla="*/ 5426496 w 9517857"/>
              <a:gd name="connsiteY70" fmla="*/ 235130 h 918344"/>
              <a:gd name="connsiteX71" fmla="*/ 5497161 w 9517857"/>
              <a:gd name="connsiteY71" fmla="*/ 228796 h 918344"/>
              <a:gd name="connsiteX72" fmla="*/ 6013415 w 9517857"/>
              <a:gd name="connsiteY72" fmla="*/ 137304 h 918344"/>
              <a:gd name="connsiteX73" fmla="*/ 6080994 w 9517857"/>
              <a:gd name="connsiteY73" fmla="*/ 142926 h 918344"/>
              <a:gd name="connsiteX74" fmla="*/ 6194152 w 9517857"/>
              <a:gd name="connsiteY74" fmla="*/ 151760 h 918344"/>
              <a:gd name="connsiteX75" fmla="*/ 6281379 w 9517857"/>
              <a:gd name="connsiteY75" fmla="*/ 181614 h 918344"/>
              <a:gd name="connsiteX76" fmla="*/ 6374947 w 9517857"/>
              <a:gd name="connsiteY76" fmla="*/ 179787 h 918344"/>
              <a:gd name="connsiteX77" fmla="*/ 6448518 w 9517857"/>
              <a:gd name="connsiteY77" fmla="*/ 164366 h 918344"/>
              <a:gd name="connsiteX78" fmla="*/ 6544700 w 9517857"/>
              <a:gd name="connsiteY78" fmla="*/ 167149 h 918344"/>
              <a:gd name="connsiteX79" fmla="*/ 6648353 w 9517857"/>
              <a:gd name="connsiteY79" fmla="*/ 172238 h 918344"/>
              <a:gd name="connsiteX80" fmla="*/ 6736227 w 9517857"/>
              <a:gd name="connsiteY80" fmla="*/ 173204 h 918344"/>
              <a:gd name="connsiteX81" fmla="*/ 6977218 w 9517857"/>
              <a:gd name="connsiteY81" fmla="*/ 184277 h 918344"/>
              <a:gd name="connsiteX82" fmla="*/ 7065221 w 9517857"/>
              <a:gd name="connsiteY82" fmla="*/ 227519 h 918344"/>
              <a:gd name="connsiteX83" fmla="*/ 7565449 w 9517857"/>
              <a:gd name="connsiteY83" fmla="*/ 258938 h 918344"/>
              <a:gd name="connsiteX84" fmla="*/ 7599285 w 9517857"/>
              <a:gd name="connsiteY84" fmla="*/ 266009 h 918344"/>
              <a:gd name="connsiteX85" fmla="*/ 7644411 w 9517857"/>
              <a:gd name="connsiteY85" fmla="*/ 258974 h 918344"/>
              <a:gd name="connsiteX86" fmla="*/ 7825110 w 9517857"/>
              <a:gd name="connsiteY86" fmla="*/ 229097 h 918344"/>
              <a:gd name="connsiteX87" fmla="*/ 7965804 w 9517857"/>
              <a:gd name="connsiteY87" fmla="*/ 190533 h 918344"/>
              <a:gd name="connsiteX88" fmla="*/ 8147401 w 9517857"/>
              <a:gd name="connsiteY88" fmla="*/ 205605 h 918344"/>
              <a:gd name="connsiteX89" fmla="*/ 8256033 w 9517857"/>
              <a:gd name="connsiteY89" fmla="*/ 193701 h 918344"/>
              <a:gd name="connsiteX90" fmla="*/ 8551625 w 9517857"/>
              <a:gd name="connsiteY90" fmla="*/ 161505 h 918344"/>
              <a:gd name="connsiteX91" fmla="*/ 8715976 w 9517857"/>
              <a:gd name="connsiteY91" fmla="*/ 178362 h 918344"/>
              <a:gd name="connsiteX92" fmla="*/ 8778827 w 9517857"/>
              <a:gd name="connsiteY92" fmla="*/ 172924 h 918344"/>
              <a:gd name="connsiteX93" fmla="*/ 8840778 w 9517857"/>
              <a:gd name="connsiteY93" fmla="*/ 143137 h 918344"/>
              <a:gd name="connsiteX94" fmla="*/ 9010380 w 9517857"/>
              <a:gd name="connsiteY94" fmla="*/ 91879 h 918344"/>
              <a:gd name="connsiteX95" fmla="*/ 9110856 w 9517857"/>
              <a:gd name="connsiteY95" fmla="*/ 70985 h 918344"/>
              <a:gd name="connsiteX96" fmla="*/ 9268817 w 9517857"/>
              <a:gd name="connsiteY96" fmla="*/ 53070 h 918344"/>
              <a:gd name="connsiteX97" fmla="*/ 9316667 w 9517857"/>
              <a:gd name="connsiteY97" fmla="*/ 45035 h 918344"/>
              <a:gd name="connsiteX98" fmla="*/ 9428209 w 9517857"/>
              <a:gd name="connsiteY98" fmla="*/ 29911 h 918344"/>
              <a:gd name="connsiteX0" fmla="*/ 4686423 w 9517857"/>
              <a:gd name="connsiteY0" fmla="*/ 247907 h 918344"/>
              <a:gd name="connsiteX1" fmla="*/ 4689051 w 9517857"/>
              <a:gd name="connsiteY1" fmla="*/ 250956 h 918344"/>
              <a:gd name="connsiteX2" fmla="*/ 4687244 w 9517857"/>
              <a:gd name="connsiteY2" fmla="*/ 251286 h 918344"/>
              <a:gd name="connsiteX3" fmla="*/ 4686423 w 9517857"/>
              <a:gd name="connsiteY3" fmla="*/ 247907 h 918344"/>
              <a:gd name="connsiteX4" fmla="*/ 4685225 w 9517857"/>
              <a:gd name="connsiteY4" fmla="*/ 246518 h 918344"/>
              <a:gd name="connsiteX5" fmla="*/ 4686133 w 9517857"/>
              <a:gd name="connsiteY5" fmla="*/ 246715 h 918344"/>
              <a:gd name="connsiteX6" fmla="*/ 4686423 w 9517857"/>
              <a:gd name="connsiteY6" fmla="*/ 247907 h 918344"/>
              <a:gd name="connsiteX7" fmla="*/ 4685225 w 9517857"/>
              <a:gd name="connsiteY7" fmla="*/ 246518 h 918344"/>
              <a:gd name="connsiteX8" fmla="*/ 9428209 w 9517857"/>
              <a:gd name="connsiteY8" fmla="*/ 29911 h 918344"/>
              <a:gd name="connsiteX9" fmla="*/ 9517857 w 9517857"/>
              <a:gd name="connsiteY9" fmla="*/ 0 h 918344"/>
              <a:gd name="connsiteX10" fmla="*/ 9517857 w 9517857"/>
              <a:gd name="connsiteY10" fmla="*/ 918344 h 918344"/>
              <a:gd name="connsiteX11" fmla="*/ 14604 w 9517857"/>
              <a:gd name="connsiteY11" fmla="*/ 918344 h 918344"/>
              <a:gd name="connsiteX12" fmla="*/ 12841 w 9517857"/>
              <a:gd name="connsiteY12" fmla="*/ 917751 h 918344"/>
              <a:gd name="connsiteX13" fmla="*/ 93 w 9517857"/>
              <a:gd name="connsiteY13" fmla="*/ 912459 h 918344"/>
              <a:gd name="connsiteX14" fmla="*/ 58674 w 9517857"/>
              <a:gd name="connsiteY14" fmla="*/ 890310 h 918344"/>
              <a:gd name="connsiteX15" fmla="*/ 275005 w 9517857"/>
              <a:gd name="connsiteY15" fmla="*/ 807217 h 918344"/>
              <a:gd name="connsiteX16" fmla="*/ 587824 w 9517857"/>
              <a:gd name="connsiteY16" fmla="*/ 798183 h 918344"/>
              <a:gd name="connsiteX17" fmla="*/ 651826 w 9517857"/>
              <a:gd name="connsiteY17" fmla="*/ 738326 h 918344"/>
              <a:gd name="connsiteX18" fmla="*/ 727985 w 9517857"/>
              <a:gd name="connsiteY18" fmla="*/ 719814 h 918344"/>
              <a:gd name="connsiteX19" fmla="*/ 778982 w 9517857"/>
              <a:gd name="connsiteY19" fmla="*/ 710130 h 918344"/>
              <a:gd name="connsiteX20" fmla="*/ 849944 w 9517857"/>
              <a:gd name="connsiteY20" fmla="*/ 717975 h 918344"/>
              <a:gd name="connsiteX21" fmla="*/ 921659 w 9517857"/>
              <a:gd name="connsiteY21" fmla="*/ 712683 h 918344"/>
              <a:gd name="connsiteX22" fmla="*/ 930946 w 9517857"/>
              <a:gd name="connsiteY22" fmla="*/ 734034 h 918344"/>
              <a:gd name="connsiteX23" fmla="*/ 986250 w 9517857"/>
              <a:gd name="connsiteY23" fmla="*/ 713518 h 918344"/>
              <a:gd name="connsiteX24" fmla="*/ 1013752 w 9517857"/>
              <a:gd name="connsiteY24" fmla="*/ 713349 h 918344"/>
              <a:gd name="connsiteX25" fmla="*/ 1023734 w 9517857"/>
              <a:gd name="connsiteY25" fmla="*/ 718559 h 918344"/>
              <a:gd name="connsiteX26" fmla="*/ 1063207 w 9517857"/>
              <a:gd name="connsiteY26" fmla="*/ 715639 h 918344"/>
              <a:gd name="connsiteX27" fmla="*/ 1081980 w 9517857"/>
              <a:gd name="connsiteY27" fmla="*/ 738443 h 918344"/>
              <a:gd name="connsiteX28" fmla="*/ 1218120 w 9517857"/>
              <a:gd name="connsiteY28" fmla="*/ 713268 h 918344"/>
              <a:gd name="connsiteX29" fmla="*/ 1397459 w 9517857"/>
              <a:gd name="connsiteY29" fmla="*/ 691178 h 918344"/>
              <a:gd name="connsiteX30" fmla="*/ 1580688 w 9517857"/>
              <a:gd name="connsiteY30" fmla="*/ 693685 h 918344"/>
              <a:gd name="connsiteX31" fmla="*/ 1772334 w 9517857"/>
              <a:gd name="connsiteY31" fmla="*/ 710628 h 918344"/>
              <a:gd name="connsiteX32" fmla="*/ 2002561 w 9517857"/>
              <a:gd name="connsiteY32" fmla="*/ 659905 h 918344"/>
              <a:gd name="connsiteX33" fmla="*/ 2135144 w 9517857"/>
              <a:gd name="connsiteY33" fmla="*/ 636489 h 918344"/>
              <a:gd name="connsiteX34" fmla="*/ 2440292 w 9517857"/>
              <a:gd name="connsiteY34" fmla="*/ 593850 h 918344"/>
              <a:gd name="connsiteX35" fmla="*/ 2547829 w 9517857"/>
              <a:gd name="connsiteY35" fmla="*/ 566138 h 918344"/>
              <a:gd name="connsiteX36" fmla="*/ 2658055 w 9517857"/>
              <a:gd name="connsiteY36" fmla="*/ 578715 h 918344"/>
              <a:gd name="connsiteX37" fmla="*/ 2693698 w 9517857"/>
              <a:gd name="connsiteY37" fmla="*/ 560017 h 918344"/>
              <a:gd name="connsiteX38" fmla="*/ 2699673 w 9517857"/>
              <a:gd name="connsiteY38" fmla="*/ 556388 h 918344"/>
              <a:gd name="connsiteX39" fmla="*/ 2727306 w 9517857"/>
              <a:gd name="connsiteY39" fmla="*/ 550686 h 918344"/>
              <a:gd name="connsiteX40" fmla="*/ 2730451 w 9517857"/>
              <a:gd name="connsiteY40" fmla="*/ 538046 h 918344"/>
              <a:gd name="connsiteX41" fmla="*/ 2768713 w 9517857"/>
              <a:gd name="connsiteY41" fmla="*/ 521563 h 918344"/>
              <a:gd name="connsiteX42" fmla="*/ 2820868 w 9517857"/>
              <a:gd name="connsiteY42" fmla="*/ 514148 h 918344"/>
              <a:gd name="connsiteX43" fmla="*/ 3073635 w 9517857"/>
              <a:gd name="connsiteY43" fmla="*/ 491282 h 918344"/>
              <a:gd name="connsiteX44" fmla="*/ 3222071 w 9517857"/>
              <a:gd name="connsiteY44" fmla="*/ 470547 h 918344"/>
              <a:gd name="connsiteX45" fmla="*/ 3274069 w 9517857"/>
              <a:gd name="connsiteY45" fmla="*/ 451593 h 918344"/>
              <a:gd name="connsiteX46" fmla="*/ 3349632 w 9517857"/>
              <a:gd name="connsiteY46" fmla="*/ 432571 h 918344"/>
              <a:gd name="connsiteX47" fmla="*/ 3479593 w 9517857"/>
              <a:gd name="connsiteY47" fmla="*/ 390425 h 918344"/>
              <a:gd name="connsiteX48" fmla="*/ 3750023 w 9517857"/>
              <a:gd name="connsiteY48" fmla="*/ 370666 h 918344"/>
              <a:gd name="connsiteX49" fmla="*/ 3844133 w 9517857"/>
              <a:gd name="connsiteY49" fmla="*/ 360636 h 918344"/>
              <a:gd name="connsiteX50" fmla="*/ 3913545 w 9517857"/>
              <a:gd name="connsiteY50" fmla="*/ 344223 h 918344"/>
              <a:gd name="connsiteX51" fmla="*/ 4266740 w 9517857"/>
              <a:gd name="connsiteY51" fmla="*/ 361442 h 918344"/>
              <a:gd name="connsiteX52" fmla="*/ 4430770 w 9517857"/>
              <a:gd name="connsiteY52" fmla="*/ 342631 h 918344"/>
              <a:gd name="connsiteX53" fmla="*/ 4512664 w 9517857"/>
              <a:gd name="connsiteY53" fmla="*/ 319936 h 918344"/>
              <a:gd name="connsiteX54" fmla="*/ 4616423 w 9517857"/>
              <a:gd name="connsiteY54" fmla="*/ 290902 h 918344"/>
              <a:gd name="connsiteX55" fmla="*/ 4691675 w 9517857"/>
              <a:gd name="connsiteY55" fmla="*/ 253999 h 918344"/>
              <a:gd name="connsiteX56" fmla="*/ 4689051 w 9517857"/>
              <a:gd name="connsiteY56" fmla="*/ 250956 h 918344"/>
              <a:gd name="connsiteX57" fmla="*/ 4719994 w 9517857"/>
              <a:gd name="connsiteY57" fmla="*/ 245295 h 918344"/>
              <a:gd name="connsiteX58" fmla="*/ 4752894 w 9517857"/>
              <a:gd name="connsiteY58" fmla="*/ 239863 h 918344"/>
              <a:gd name="connsiteX59" fmla="*/ 4769329 w 9517857"/>
              <a:gd name="connsiteY59" fmla="*/ 233573 h 918344"/>
              <a:gd name="connsiteX60" fmla="*/ 4775634 w 9517857"/>
              <a:gd name="connsiteY60" fmla="*/ 234051 h 918344"/>
              <a:gd name="connsiteX61" fmla="*/ 4790452 w 9517857"/>
              <a:gd name="connsiteY61" fmla="*/ 233560 h 918344"/>
              <a:gd name="connsiteX62" fmla="*/ 4789062 w 9517857"/>
              <a:gd name="connsiteY62" fmla="*/ 241912 h 918344"/>
              <a:gd name="connsiteX63" fmla="*/ 4827826 w 9517857"/>
              <a:gd name="connsiteY63" fmla="*/ 246965 h 918344"/>
              <a:gd name="connsiteX64" fmla="*/ 4892569 w 9517857"/>
              <a:gd name="connsiteY64" fmla="*/ 249921 h 918344"/>
              <a:gd name="connsiteX65" fmla="*/ 4896611 w 9517857"/>
              <a:gd name="connsiteY65" fmla="*/ 240436 h 918344"/>
              <a:gd name="connsiteX66" fmla="*/ 4917286 w 9517857"/>
              <a:gd name="connsiteY66" fmla="*/ 243647 h 918344"/>
              <a:gd name="connsiteX67" fmla="*/ 5060397 w 9517857"/>
              <a:gd name="connsiteY67" fmla="*/ 263676 h 918344"/>
              <a:gd name="connsiteX68" fmla="*/ 5252996 w 9517857"/>
              <a:gd name="connsiteY68" fmla="*/ 270643 h 918344"/>
              <a:gd name="connsiteX69" fmla="*/ 5358056 w 9517857"/>
              <a:gd name="connsiteY69" fmla="*/ 247236 h 918344"/>
              <a:gd name="connsiteX70" fmla="*/ 5426496 w 9517857"/>
              <a:gd name="connsiteY70" fmla="*/ 235130 h 918344"/>
              <a:gd name="connsiteX71" fmla="*/ 5497161 w 9517857"/>
              <a:gd name="connsiteY71" fmla="*/ 228796 h 918344"/>
              <a:gd name="connsiteX72" fmla="*/ 5856152 w 9517857"/>
              <a:gd name="connsiteY72" fmla="*/ 156354 h 918344"/>
              <a:gd name="connsiteX73" fmla="*/ 6080994 w 9517857"/>
              <a:gd name="connsiteY73" fmla="*/ 142926 h 918344"/>
              <a:gd name="connsiteX74" fmla="*/ 6194152 w 9517857"/>
              <a:gd name="connsiteY74" fmla="*/ 151760 h 918344"/>
              <a:gd name="connsiteX75" fmla="*/ 6281379 w 9517857"/>
              <a:gd name="connsiteY75" fmla="*/ 181614 h 918344"/>
              <a:gd name="connsiteX76" fmla="*/ 6374947 w 9517857"/>
              <a:gd name="connsiteY76" fmla="*/ 179787 h 918344"/>
              <a:gd name="connsiteX77" fmla="*/ 6448518 w 9517857"/>
              <a:gd name="connsiteY77" fmla="*/ 164366 h 918344"/>
              <a:gd name="connsiteX78" fmla="*/ 6544700 w 9517857"/>
              <a:gd name="connsiteY78" fmla="*/ 167149 h 918344"/>
              <a:gd name="connsiteX79" fmla="*/ 6648353 w 9517857"/>
              <a:gd name="connsiteY79" fmla="*/ 172238 h 918344"/>
              <a:gd name="connsiteX80" fmla="*/ 6736227 w 9517857"/>
              <a:gd name="connsiteY80" fmla="*/ 173204 h 918344"/>
              <a:gd name="connsiteX81" fmla="*/ 6977218 w 9517857"/>
              <a:gd name="connsiteY81" fmla="*/ 184277 h 918344"/>
              <a:gd name="connsiteX82" fmla="*/ 7065221 w 9517857"/>
              <a:gd name="connsiteY82" fmla="*/ 227519 h 918344"/>
              <a:gd name="connsiteX83" fmla="*/ 7565449 w 9517857"/>
              <a:gd name="connsiteY83" fmla="*/ 258938 h 918344"/>
              <a:gd name="connsiteX84" fmla="*/ 7599285 w 9517857"/>
              <a:gd name="connsiteY84" fmla="*/ 266009 h 918344"/>
              <a:gd name="connsiteX85" fmla="*/ 7644411 w 9517857"/>
              <a:gd name="connsiteY85" fmla="*/ 258974 h 918344"/>
              <a:gd name="connsiteX86" fmla="*/ 7825110 w 9517857"/>
              <a:gd name="connsiteY86" fmla="*/ 229097 h 918344"/>
              <a:gd name="connsiteX87" fmla="*/ 7965804 w 9517857"/>
              <a:gd name="connsiteY87" fmla="*/ 190533 h 918344"/>
              <a:gd name="connsiteX88" fmla="*/ 8147401 w 9517857"/>
              <a:gd name="connsiteY88" fmla="*/ 205605 h 918344"/>
              <a:gd name="connsiteX89" fmla="*/ 8256033 w 9517857"/>
              <a:gd name="connsiteY89" fmla="*/ 193701 h 918344"/>
              <a:gd name="connsiteX90" fmla="*/ 8551625 w 9517857"/>
              <a:gd name="connsiteY90" fmla="*/ 161505 h 918344"/>
              <a:gd name="connsiteX91" fmla="*/ 8715976 w 9517857"/>
              <a:gd name="connsiteY91" fmla="*/ 178362 h 918344"/>
              <a:gd name="connsiteX92" fmla="*/ 8778827 w 9517857"/>
              <a:gd name="connsiteY92" fmla="*/ 172924 h 918344"/>
              <a:gd name="connsiteX93" fmla="*/ 8840778 w 9517857"/>
              <a:gd name="connsiteY93" fmla="*/ 143137 h 918344"/>
              <a:gd name="connsiteX94" fmla="*/ 9010380 w 9517857"/>
              <a:gd name="connsiteY94" fmla="*/ 91879 h 918344"/>
              <a:gd name="connsiteX95" fmla="*/ 9110856 w 9517857"/>
              <a:gd name="connsiteY95" fmla="*/ 70985 h 918344"/>
              <a:gd name="connsiteX96" fmla="*/ 9268817 w 9517857"/>
              <a:gd name="connsiteY96" fmla="*/ 53070 h 918344"/>
              <a:gd name="connsiteX97" fmla="*/ 9316667 w 9517857"/>
              <a:gd name="connsiteY97" fmla="*/ 45035 h 918344"/>
              <a:gd name="connsiteX98" fmla="*/ 9428209 w 9517857"/>
              <a:gd name="connsiteY98" fmla="*/ 29911 h 918344"/>
              <a:gd name="connsiteX0" fmla="*/ 4686423 w 9517857"/>
              <a:gd name="connsiteY0" fmla="*/ 247907 h 918344"/>
              <a:gd name="connsiteX1" fmla="*/ 4689051 w 9517857"/>
              <a:gd name="connsiteY1" fmla="*/ 250956 h 918344"/>
              <a:gd name="connsiteX2" fmla="*/ 4687244 w 9517857"/>
              <a:gd name="connsiteY2" fmla="*/ 251286 h 918344"/>
              <a:gd name="connsiteX3" fmla="*/ 4686423 w 9517857"/>
              <a:gd name="connsiteY3" fmla="*/ 247907 h 918344"/>
              <a:gd name="connsiteX4" fmla="*/ 4685225 w 9517857"/>
              <a:gd name="connsiteY4" fmla="*/ 246518 h 918344"/>
              <a:gd name="connsiteX5" fmla="*/ 4686133 w 9517857"/>
              <a:gd name="connsiteY5" fmla="*/ 246715 h 918344"/>
              <a:gd name="connsiteX6" fmla="*/ 4686423 w 9517857"/>
              <a:gd name="connsiteY6" fmla="*/ 247907 h 918344"/>
              <a:gd name="connsiteX7" fmla="*/ 4685225 w 9517857"/>
              <a:gd name="connsiteY7" fmla="*/ 246518 h 918344"/>
              <a:gd name="connsiteX8" fmla="*/ 9428209 w 9517857"/>
              <a:gd name="connsiteY8" fmla="*/ 29911 h 918344"/>
              <a:gd name="connsiteX9" fmla="*/ 9517857 w 9517857"/>
              <a:gd name="connsiteY9" fmla="*/ 0 h 918344"/>
              <a:gd name="connsiteX10" fmla="*/ 9517857 w 9517857"/>
              <a:gd name="connsiteY10" fmla="*/ 918344 h 918344"/>
              <a:gd name="connsiteX11" fmla="*/ 14604 w 9517857"/>
              <a:gd name="connsiteY11" fmla="*/ 918344 h 918344"/>
              <a:gd name="connsiteX12" fmla="*/ 12841 w 9517857"/>
              <a:gd name="connsiteY12" fmla="*/ 917751 h 918344"/>
              <a:gd name="connsiteX13" fmla="*/ 93 w 9517857"/>
              <a:gd name="connsiteY13" fmla="*/ 912459 h 918344"/>
              <a:gd name="connsiteX14" fmla="*/ 58674 w 9517857"/>
              <a:gd name="connsiteY14" fmla="*/ 890310 h 918344"/>
              <a:gd name="connsiteX15" fmla="*/ 275005 w 9517857"/>
              <a:gd name="connsiteY15" fmla="*/ 807217 h 918344"/>
              <a:gd name="connsiteX16" fmla="*/ 587824 w 9517857"/>
              <a:gd name="connsiteY16" fmla="*/ 798183 h 918344"/>
              <a:gd name="connsiteX17" fmla="*/ 651826 w 9517857"/>
              <a:gd name="connsiteY17" fmla="*/ 738326 h 918344"/>
              <a:gd name="connsiteX18" fmla="*/ 727985 w 9517857"/>
              <a:gd name="connsiteY18" fmla="*/ 719814 h 918344"/>
              <a:gd name="connsiteX19" fmla="*/ 778982 w 9517857"/>
              <a:gd name="connsiteY19" fmla="*/ 710130 h 918344"/>
              <a:gd name="connsiteX20" fmla="*/ 849944 w 9517857"/>
              <a:gd name="connsiteY20" fmla="*/ 717975 h 918344"/>
              <a:gd name="connsiteX21" fmla="*/ 921659 w 9517857"/>
              <a:gd name="connsiteY21" fmla="*/ 712683 h 918344"/>
              <a:gd name="connsiteX22" fmla="*/ 930946 w 9517857"/>
              <a:gd name="connsiteY22" fmla="*/ 734034 h 918344"/>
              <a:gd name="connsiteX23" fmla="*/ 986250 w 9517857"/>
              <a:gd name="connsiteY23" fmla="*/ 713518 h 918344"/>
              <a:gd name="connsiteX24" fmla="*/ 1013752 w 9517857"/>
              <a:gd name="connsiteY24" fmla="*/ 713349 h 918344"/>
              <a:gd name="connsiteX25" fmla="*/ 1023734 w 9517857"/>
              <a:gd name="connsiteY25" fmla="*/ 718559 h 918344"/>
              <a:gd name="connsiteX26" fmla="*/ 1063207 w 9517857"/>
              <a:gd name="connsiteY26" fmla="*/ 715639 h 918344"/>
              <a:gd name="connsiteX27" fmla="*/ 1081980 w 9517857"/>
              <a:gd name="connsiteY27" fmla="*/ 738443 h 918344"/>
              <a:gd name="connsiteX28" fmla="*/ 1218120 w 9517857"/>
              <a:gd name="connsiteY28" fmla="*/ 713268 h 918344"/>
              <a:gd name="connsiteX29" fmla="*/ 1397459 w 9517857"/>
              <a:gd name="connsiteY29" fmla="*/ 691178 h 918344"/>
              <a:gd name="connsiteX30" fmla="*/ 1580688 w 9517857"/>
              <a:gd name="connsiteY30" fmla="*/ 693685 h 918344"/>
              <a:gd name="connsiteX31" fmla="*/ 1772334 w 9517857"/>
              <a:gd name="connsiteY31" fmla="*/ 710628 h 918344"/>
              <a:gd name="connsiteX32" fmla="*/ 2002561 w 9517857"/>
              <a:gd name="connsiteY32" fmla="*/ 659905 h 918344"/>
              <a:gd name="connsiteX33" fmla="*/ 2135144 w 9517857"/>
              <a:gd name="connsiteY33" fmla="*/ 636489 h 918344"/>
              <a:gd name="connsiteX34" fmla="*/ 2440292 w 9517857"/>
              <a:gd name="connsiteY34" fmla="*/ 593850 h 918344"/>
              <a:gd name="connsiteX35" fmla="*/ 2547829 w 9517857"/>
              <a:gd name="connsiteY35" fmla="*/ 566138 h 918344"/>
              <a:gd name="connsiteX36" fmla="*/ 2658055 w 9517857"/>
              <a:gd name="connsiteY36" fmla="*/ 578715 h 918344"/>
              <a:gd name="connsiteX37" fmla="*/ 2693698 w 9517857"/>
              <a:gd name="connsiteY37" fmla="*/ 560017 h 918344"/>
              <a:gd name="connsiteX38" fmla="*/ 2699673 w 9517857"/>
              <a:gd name="connsiteY38" fmla="*/ 556388 h 918344"/>
              <a:gd name="connsiteX39" fmla="*/ 2727306 w 9517857"/>
              <a:gd name="connsiteY39" fmla="*/ 550686 h 918344"/>
              <a:gd name="connsiteX40" fmla="*/ 2730451 w 9517857"/>
              <a:gd name="connsiteY40" fmla="*/ 538046 h 918344"/>
              <a:gd name="connsiteX41" fmla="*/ 2768713 w 9517857"/>
              <a:gd name="connsiteY41" fmla="*/ 521563 h 918344"/>
              <a:gd name="connsiteX42" fmla="*/ 2820868 w 9517857"/>
              <a:gd name="connsiteY42" fmla="*/ 514148 h 918344"/>
              <a:gd name="connsiteX43" fmla="*/ 3073635 w 9517857"/>
              <a:gd name="connsiteY43" fmla="*/ 491282 h 918344"/>
              <a:gd name="connsiteX44" fmla="*/ 3222071 w 9517857"/>
              <a:gd name="connsiteY44" fmla="*/ 470547 h 918344"/>
              <a:gd name="connsiteX45" fmla="*/ 3274069 w 9517857"/>
              <a:gd name="connsiteY45" fmla="*/ 451593 h 918344"/>
              <a:gd name="connsiteX46" fmla="*/ 3349632 w 9517857"/>
              <a:gd name="connsiteY46" fmla="*/ 432571 h 918344"/>
              <a:gd name="connsiteX47" fmla="*/ 3479593 w 9517857"/>
              <a:gd name="connsiteY47" fmla="*/ 390425 h 918344"/>
              <a:gd name="connsiteX48" fmla="*/ 3750023 w 9517857"/>
              <a:gd name="connsiteY48" fmla="*/ 370666 h 918344"/>
              <a:gd name="connsiteX49" fmla="*/ 3844133 w 9517857"/>
              <a:gd name="connsiteY49" fmla="*/ 360636 h 918344"/>
              <a:gd name="connsiteX50" fmla="*/ 3913545 w 9517857"/>
              <a:gd name="connsiteY50" fmla="*/ 344223 h 918344"/>
              <a:gd name="connsiteX51" fmla="*/ 4266740 w 9517857"/>
              <a:gd name="connsiteY51" fmla="*/ 361442 h 918344"/>
              <a:gd name="connsiteX52" fmla="*/ 4430770 w 9517857"/>
              <a:gd name="connsiteY52" fmla="*/ 342631 h 918344"/>
              <a:gd name="connsiteX53" fmla="*/ 4512664 w 9517857"/>
              <a:gd name="connsiteY53" fmla="*/ 319936 h 918344"/>
              <a:gd name="connsiteX54" fmla="*/ 4616423 w 9517857"/>
              <a:gd name="connsiteY54" fmla="*/ 290902 h 918344"/>
              <a:gd name="connsiteX55" fmla="*/ 4691675 w 9517857"/>
              <a:gd name="connsiteY55" fmla="*/ 253999 h 918344"/>
              <a:gd name="connsiteX56" fmla="*/ 4689051 w 9517857"/>
              <a:gd name="connsiteY56" fmla="*/ 250956 h 918344"/>
              <a:gd name="connsiteX57" fmla="*/ 4719994 w 9517857"/>
              <a:gd name="connsiteY57" fmla="*/ 245295 h 918344"/>
              <a:gd name="connsiteX58" fmla="*/ 4752894 w 9517857"/>
              <a:gd name="connsiteY58" fmla="*/ 239863 h 918344"/>
              <a:gd name="connsiteX59" fmla="*/ 4769329 w 9517857"/>
              <a:gd name="connsiteY59" fmla="*/ 233573 h 918344"/>
              <a:gd name="connsiteX60" fmla="*/ 4775634 w 9517857"/>
              <a:gd name="connsiteY60" fmla="*/ 234051 h 918344"/>
              <a:gd name="connsiteX61" fmla="*/ 4790452 w 9517857"/>
              <a:gd name="connsiteY61" fmla="*/ 233560 h 918344"/>
              <a:gd name="connsiteX62" fmla="*/ 4789062 w 9517857"/>
              <a:gd name="connsiteY62" fmla="*/ 241912 h 918344"/>
              <a:gd name="connsiteX63" fmla="*/ 4827826 w 9517857"/>
              <a:gd name="connsiteY63" fmla="*/ 246965 h 918344"/>
              <a:gd name="connsiteX64" fmla="*/ 4892569 w 9517857"/>
              <a:gd name="connsiteY64" fmla="*/ 249921 h 918344"/>
              <a:gd name="connsiteX65" fmla="*/ 4896611 w 9517857"/>
              <a:gd name="connsiteY65" fmla="*/ 240436 h 918344"/>
              <a:gd name="connsiteX66" fmla="*/ 4917286 w 9517857"/>
              <a:gd name="connsiteY66" fmla="*/ 243647 h 918344"/>
              <a:gd name="connsiteX67" fmla="*/ 5060397 w 9517857"/>
              <a:gd name="connsiteY67" fmla="*/ 263676 h 918344"/>
              <a:gd name="connsiteX68" fmla="*/ 5252996 w 9517857"/>
              <a:gd name="connsiteY68" fmla="*/ 270643 h 918344"/>
              <a:gd name="connsiteX69" fmla="*/ 5358056 w 9517857"/>
              <a:gd name="connsiteY69" fmla="*/ 247236 h 918344"/>
              <a:gd name="connsiteX70" fmla="*/ 5426496 w 9517857"/>
              <a:gd name="connsiteY70" fmla="*/ 235130 h 918344"/>
              <a:gd name="connsiteX71" fmla="*/ 5497161 w 9517857"/>
              <a:gd name="connsiteY71" fmla="*/ 228796 h 918344"/>
              <a:gd name="connsiteX72" fmla="*/ 5856152 w 9517857"/>
              <a:gd name="connsiteY72" fmla="*/ 156354 h 918344"/>
              <a:gd name="connsiteX73" fmla="*/ 6014778 w 9517857"/>
              <a:gd name="connsiteY73" fmla="*/ 168326 h 918344"/>
              <a:gd name="connsiteX74" fmla="*/ 6194152 w 9517857"/>
              <a:gd name="connsiteY74" fmla="*/ 151760 h 918344"/>
              <a:gd name="connsiteX75" fmla="*/ 6281379 w 9517857"/>
              <a:gd name="connsiteY75" fmla="*/ 181614 h 918344"/>
              <a:gd name="connsiteX76" fmla="*/ 6374947 w 9517857"/>
              <a:gd name="connsiteY76" fmla="*/ 179787 h 918344"/>
              <a:gd name="connsiteX77" fmla="*/ 6448518 w 9517857"/>
              <a:gd name="connsiteY77" fmla="*/ 164366 h 918344"/>
              <a:gd name="connsiteX78" fmla="*/ 6544700 w 9517857"/>
              <a:gd name="connsiteY78" fmla="*/ 167149 h 918344"/>
              <a:gd name="connsiteX79" fmla="*/ 6648353 w 9517857"/>
              <a:gd name="connsiteY79" fmla="*/ 172238 h 918344"/>
              <a:gd name="connsiteX80" fmla="*/ 6736227 w 9517857"/>
              <a:gd name="connsiteY80" fmla="*/ 173204 h 918344"/>
              <a:gd name="connsiteX81" fmla="*/ 6977218 w 9517857"/>
              <a:gd name="connsiteY81" fmla="*/ 184277 h 918344"/>
              <a:gd name="connsiteX82" fmla="*/ 7065221 w 9517857"/>
              <a:gd name="connsiteY82" fmla="*/ 227519 h 918344"/>
              <a:gd name="connsiteX83" fmla="*/ 7565449 w 9517857"/>
              <a:gd name="connsiteY83" fmla="*/ 258938 h 918344"/>
              <a:gd name="connsiteX84" fmla="*/ 7599285 w 9517857"/>
              <a:gd name="connsiteY84" fmla="*/ 266009 h 918344"/>
              <a:gd name="connsiteX85" fmla="*/ 7644411 w 9517857"/>
              <a:gd name="connsiteY85" fmla="*/ 258974 h 918344"/>
              <a:gd name="connsiteX86" fmla="*/ 7825110 w 9517857"/>
              <a:gd name="connsiteY86" fmla="*/ 229097 h 918344"/>
              <a:gd name="connsiteX87" fmla="*/ 7965804 w 9517857"/>
              <a:gd name="connsiteY87" fmla="*/ 190533 h 918344"/>
              <a:gd name="connsiteX88" fmla="*/ 8147401 w 9517857"/>
              <a:gd name="connsiteY88" fmla="*/ 205605 h 918344"/>
              <a:gd name="connsiteX89" fmla="*/ 8256033 w 9517857"/>
              <a:gd name="connsiteY89" fmla="*/ 193701 h 918344"/>
              <a:gd name="connsiteX90" fmla="*/ 8551625 w 9517857"/>
              <a:gd name="connsiteY90" fmla="*/ 161505 h 918344"/>
              <a:gd name="connsiteX91" fmla="*/ 8715976 w 9517857"/>
              <a:gd name="connsiteY91" fmla="*/ 178362 h 918344"/>
              <a:gd name="connsiteX92" fmla="*/ 8778827 w 9517857"/>
              <a:gd name="connsiteY92" fmla="*/ 172924 h 918344"/>
              <a:gd name="connsiteX93" fmla="*/ 8840778 w 9517857"/>
              <a:gd name="connsiteY93" fmla="*/ 143137 h 918344"/>
              <a:gd name="connsiteX94" fmla="*/ 9010380 w 9517857"/>
              <a:gd name="connsiteY94" fmla="*/ 91879 h 918344"/>
              <a:gd name="connsiteX95" fmla="*/ 9110856 w 9517857"/>
              <a:gd name="connsiteY95" fmla="*/ 70985 h 918344"/>
              <a:gd name="connsiteX96" fmla="*/ 9268817 w 9517857"/>
              <a:gd name="connsiteY96" fmla="*/ 53070 h 918344"/>
              <a:gd name="connsiteX97" fmla="*/ 9316667 w 9517857"/>
              <a:gd name="connsiteY97" fmla="*/ 45035 h 918344"/>
              <a:gd name="connsiteX98" fmla="*/ 9428209 w 9517857"/>
              <a:gd name="connsiteY98" fmla="*/ 29911 h 918344"/>
              <a:gd name="connsiteX0" fmla="*/ 4686423 w 9517857"/>
              <a:gd name="connsiteY0" fmla="*/ 247907 h 918344"/>
              <a:gd name="connsiteX1" fmla="*/ 4689051 w 9517857"/>
              <a:gd name="connsiteY1" fmla="*/ 250956 h 918344"/>
              <a:gd name="connsiteX2" fmla="*/ 4687244 w 9517857"/>
              <a:gd name="connsiteY2" fmla="*/ 251286 h 918344"/>
              <a:gd name="connsiteX3" fmla="*/ 4686423 w 9517857"/>
              <a:gd name="connsiteY3" fmla="*/ 247907 h 918344"/>
              <a:gd name="connsiteX4" fmla="*/ 4685225 w 9517857"/>
              <a:gd name="connsiteY4" fmla="*/ 246518 h 918344"/>
              <a:gd name="connsiteX5" fmla="*/ 4686133 w 9517857"/>
              <a:gd name="connsiteY5" fmla="*/ 246715 h 918344"/>
              <a:gd name="connsiteX6" fmla="*/ 4686423 w 9517857"/>
              <a:gd name="connsiteY6" fmla="*/ 247907 h 918344"/>
              <a:gd name="connsiteX7" fmla="*/ 4685225 w 9517857"/>
              <a:gd name="connsiteY7" fmla="*/ 246518 h 918344"/>
              <a:gd name="connsiteX8" fmla="*/ 9428209 w 9517857"/>
              <a:gd name="connsiteY8" fmla="*/ 29911 h 918344"/>
              <a:gd name="connsiteX9" fmla="*/ 9517857 w 9517857"/>
              <a:gd name="connsiteY9" fmla="*/ 0 h 918344"/>
              <a:gd name="connsiteX10" fmla="*/ 9517857 w 9517857"/>
              <a:gd name="connsiteY10" fmla="*/ 918344 h 918344"/>
              <a:gd name="connsiteX11" fmla="*/ 14604 w 9517857"/>
              <a:gd name="connsiteY11" fmla="*/ 918344 h 918344"/>
              <a:gd name="connsiteX12" fmla="*/ 12841 w 9517857"/>
              <a:gd name="connsiteY12" fmla="*/ 917751 h 918344"/>
              <a:gd name="connsiteX13" fmla="*/ 93 w 9517857"/>
              <a:gd name="connsiteY13" fmla="*/ 912459 h 918344"/>
              <a:gd name="connsiteX14" fmla="*/ 58674 w 9517857"/>
              <a:gd name="connsiteY14" fmla="*/ 890310 h 918344"/>
              <a:gd name="connsiteX15" fmla="*/ 275005 w 9517857"/>
              <a:gd name="connsiteY15" fmla="*/ 807217 h 918344"/>
              <a:gd name="connsiteX16" fmla="*/ 587824 w 9517857"/>
              <a:gd name="connsiteY16" fmla="*/ 798183 h 918344"/>
              <a:gd name="connsiteX17" fmla="*/ 651826 w 9517857"/>
              <a:gd name="connsiteY17" fmla="*/ 738326 h 918344"/>
              <a:gd name="connsiteX18" fmla="*/ 727985 w 9517857"/>
              <a:gd name="connsiteY18" fmla="*/ 719814 h 918344"/>
              <a:gd name="connsiteX19" fmla="*/ 778982 w 9517857"/>
              <a:gd name="connsiteY19" fmla="*/ 710130 h 918344"/>
              <a:gd name="connsiteX20" fmla="*/ 849944 w 9517857"/>
              <a:gd name="connsiteY20" fmla="*/ 717975 h 918344"/>
              <a:gd name="connsiteX21" fmla="*/ 921659 w 9517857"/>
              <a:gd name="connsiteY21" fmla="*/ 712683 h 918344"/>
              <a:gd name="connsiteX22" fmla="*/ 930946 w 9517857"/>
              <a:gd name="connsiteY22" fmla="*/ 734034 h 918344"/>
              <a:gd name="connsiteX23" fmla="*/ 986250 w 9517857"/>
              <a:gd name="connsiteY23" fmla="*/ 713518 h 918344"/>
              <a:gd name="connsiteX24" fmla="*/ 1013752 w 9517857"/>
              <a:gd name="connsiteY24" fmla="*/ 713349 h 918344"/>
              <a:gd name="connsiteX25" fmla="*/ 1023734 w 9517857"/>
              <a:gd name="connsiteY25" fmla="*/ 718559 h 918344"/>
              <a:gd name="connsiteX26" fmla="*/ 1063207 w 9517857"/>
              <a:gd name="connsiteY26" fmla="*/ 715639 h 918344"/>
              <a:gd name="connsiteX27" fmla="*/ 1081980 w 9517857"/>
              <a:gd name="connsiteY27" fmla="*/ 738443 h 918344"/>
              <a:gd name="connsiteX28" fmla="*/ 1218120 w 9517857"/>
              <a:gd name="connsiteY28" fmla="*/ 713268 h 918344"/>
              <a:gd name="connsiteX29" fmla="*/ 1397459 w 9517857"/>
              <a:gd name="connsiteY29" fmla="*/ 691178 h 918344"/>
              <a:gd name="connsiteX30" fmla="*/ 1580688 w 9517857"/>
              <a:gd name="connsiteY30" fmla="*/ 693685 h 918344"/>
              <a:gd name="connsiteX31" fmla="*/ 1772334 w 9517857"/>
              <a:gd name="connsiteY31" fmla="*/ 710628 h 918344"/>
              <a:gd name="connsiteX32" fmla="*/ 2002561 w 9517857"/>
              <a:gd name="connsiteY32" fmla="*/ 659905 h 918344"/>
              <a:gd name="connsiteX33" fmla="*/ 2135144 w 9517857"/>
              <a:gd name="connsiteY33" fmla="*/ 636489 h 918344"/>
              <a:gd name="connsiteX34" fmla="*/ 2440292 w 9517857"/>
              <a:gd name="connsiteY34" fmla="*/ 593850 h 918344"/>
              <a:gd name="connsiteX35" fmla="*/ 2547829 w 9517857"/>
              <a:gd name="connsiteY35" fmla="*/ 566138 h 918344"/>
              <a:gd name="connsiteX36" fmla="*/ 2658055 w 9517857"/>
              <a:gd name="connsiteY36" fmla="*/ 578715 h 918344"/>
              <a:gd name="connsiteX37" fmla="*/ 2693698 w 9517857"/>
              <a:gd name="connsiteY37" fmla="*/ 560017 h 918344"/>
              <a:gd name="connsiteX38" fmla="*/ 2699673 w 9517857"/>
              <a:gd name="connsiteY38" fmla="*/ 556388 h 918344"/>
              <a:gd name="connsiteX39" fmla="*/ 2727306 w 9517857"/>
              <a:gd name="connsiteY39" fmla="*/ 550686 h 918344"/>
              <a:gd name="connsiteX40" fmla="*/ 2730451 w 9517857"/>
              <a:gd name="connsiteY40" fmla="*/ 538046 h 918344"/>
              <a:gd name="connsiteX41" fmla="*/ 2768713 w 9517857"/>
              <a:gd name="connsiteY41" fmla="*/ 521563 h 918344"/>
              <a:gd name="connsiteX42" fmla="*/ 2820868 w 9517857"/>
              <a:gd name="connsiteY42" fmla="*/ 514148 h 918344"/>
              <a:gd name="connsiteX43" fmla="*/ 3073635 w 9517857"/>
              <a:gd name="connsiteY43" fmla="*/ 491282 h 918344"/>
              <a:gd name="connsiteX44" fmla="*/ 3222071 w 9517857"/>
              <a:gd name="connsiteY44" fmla="*/ 470547 h 918344"/>
              <a:gd name="connsiteX45" fmla="*/ 3274069 w 9517857"/>
              <a:gd name="connsiteY45" fmla="*/ 451593 h 918344"/>
              <a:gd name="connsiteX46" fmla="*/ 3349632 w 9517857"/>
              <a:gd name="connsiteY46" fmla="*/ 432571 h 918344"/>
              <a:gd name="connsiteX47" fmla="*/ 3479593 w 9517857"/>
              <a:gd name="connsiteY47" fmla="*/ 390425 h 918344"/>
              <a:gd name="connsiteX48" fmla="*/ 3750023 w 9517857"/>
              <a:gd name="connsiteY48" fmla="*/ 370666 h 918344"/>
              <a:gd name="connsiteX49" fmla="*/ 3844133 w 9517857"/>
              <a:gd name="connsiteY49" fmla="*/ 360636 h 918344"/>
              <a:gd name="connsiteX50" fmla="*/ 3913545 w 9517857"/>
              <a:gd name="connsiteY50" fmla="*/ 344223 h 918344"/>
              <a:gd name="connsiteX51" fmla="*/ 4266740 w 9517857"/>
              <a:gd name="connsiteY51" fmla="*/ 361442 h 918344"/>
              <a:gd name="connsiteX52" fmla="*/ 4430770 w 9517857"/>
              <a:gd name="connsiteY52" fmla="*/ 342631 h 918344"/>
              <a:gd name="connsiteX53" fmla="*/ 4512664 w 9517857"/>
              <a:gd name="connsiteY53" fmla="*/ 319936 h 918344"/>
              <a:gd name="connsiteX54" fmla="*/ 4616423 w 9517857"/>
              <a:gd name="connsiteY54" fmla="*/ 290902 h 918344"/>
              <a:gd name="connsiteX55" fmla="*/ 4691675 w 9517857"/>
              <a:gd name="connsiteY55" fmla="*/ 253999 h 918344"/>
              <a:gd name="connsiteX56" fmla="*/ 4689051 w 9517857"/>
              <a:gd name="connsiteY56" fmla="*/ 250956 h 918344"/>
              <a:gd name="connsiteX57" fmla="*/ 4719994 w 9517857"/>
              <a:gd name="connsiteY57" fmla="*/ 245295 h 918344"/>
              <a:gd name="connsiteX58" fmla="*/ 4752894 w 9517857"/>
              <a:gd name="connsiteY58" fmla="*/ 239863 h 918344"/>
              <a:gd name="connsiteX59" fmla="*/ 4769329 w 9517857"/>
              <a:gd name="connsiteY59" fmla="*/ 233573 h 918344"/>
              <a:gd name="connsiteX60" fmla="*/ 4775634 w 9517857"/>
              <a:gd name="connsiteY60" fmla="*/ 234051 h 918344"/>
              <a:gd name="connsiteX61" fmla="*/ 4790452 w 9517857"/>
              <a:gd name="connsiteY61" fmla="*/ 233560 h 918344"/>
              <a:gd name="connsiteX62" fmla="*/ 4789062 w 9517857"/>
              <a:gd name="connsiteY62" fmla="*/ 241912 h 918344"/>
              <a:gd name="connsiteX63" fmla="*/ 4827826 w 9517857"/>
              <a:gd name="connsiteY63" fmla="*/ 246965 h 918344"/>
              <a:gd name="connsiteX64" fmla="*/ 4892569 w 9517857"/>
              <a:gd name="connsiteY64" fmla="*/ 249921 h 918344"/>
              <a:gd name="connsiteX65" fmla="*/ 4896611 w 9517857"/>
              <a:gd name="connsiteY65" fmla="*/ 240436 h 918344"/>
              <a:gd name="connsiteX66" fmla="*/ 4917286 w 9517857"/>
              <a:gd name="connsiteY66" fmla="*/ 243647 h 918344"/>
              <a:gd name="connsiteX67" fmla="*/ 5060397 w 9517857"/>
              <a:gd name="connsiteY67" fmla="*/ 263676 h 918344"/>
              <a:gd name="connsiteX68" fmla="*/ 5252996 w 9517857"/>
              <a:gd name="connsiteY68" fmla="*/ 270643 h 918344"/>
              <a:gd name="connsiteX69" fmla="*/ 5358056 w 9517857"/>
              <a:gd name="connsiteY69" fmla="*/ 247236 h 918344"/>
              <a:gd name="connsiteX70" fmla="*/ 5426496 w 9517857"/>
              <a:gd name="connsiteY70" fmla="*/ 235130 h 918344"/>
              <a:gd name="connsiteX71" fmla="*/ 5497161 w 9517857"/>
              <a:gd name="connsiteY71" fmla="*/ 228796 h 918344"/>
              <a:gd name="connsiteX72" fmla="*/ 5856152 w 9517857"/>
              <a:gd name="connsiteY72" fmla="*/ 156354 h 918344"/>
              <a:gd name="connsiteX73" fmla="*/ 6014778 w 9517857"/>
              <a:gd name="connsiteY73" fmla="*/ 168326 h 918344"/>
              <a:gd name="connsiteX74" fmla="*/ 6194152 w 9517857"/>
              <a:gd name="connsiteY74" fmla="*/ 151760 h 918344"/>
              <a:gd name="connsiteX75" fmla="*/ 6281379 w 9517857"/>
              <a:gd name="connsiteY75" fmla="*/ 181614 h 918344"/>
              <a:gd name="connsiteX76" fmla="*/ 6374947 w 9517857"/>
              <a:gd name="connsiteY76" fmla="*/ 179787 h 918344"/>
              <a:gd name="connsiteX77" fmla="*/ 6448518 w 9517857"/>
              <a:gd name="connsiteY77" fmla="*/ 164366 h 918344"/>
              <a:gd name="connsiteX78" fmla="*/ 6544700 w 9517857"/>
              <a:gd name="connsiteY78" fmla="*/ 167149 h 918344"/>
              <a:gd name="connsiteX79" fmla="*/ 6648353 w 9517857"/>
              <a:gd name="connsiteY79" fmla="*/ 172238 h 918344"/>
              <a:gd name="connsiteX80" fmla="*/ 6736227 w 9517857"/>
              <a:gd name="connsiteY80" fmla="*/ 173204 h 918344"/>
              <a:gd name="connsiteX81" fmla="*/ 6977218 w 9517857"/>
              <a:gd name="connsiteY81" fmla="*/ 184277 h 918344"/>
              <a:gd name="connsiteX82" fmla="*/ 7065221 w 9517857"/>
              <a:gd name="connsiteY82" fmla="*/ 227519 h 918344"/>
              <a:gd name="connsiteX83" fmla="*/ 7565449 w 9517857"/>
              <a:gd name="connsiteY83" fmla="*/ 258938 h 918344"/>
              <a:gd name="connsiteX84" fmla="*/ 7350974 w 9517857"/>
              <a:gd name="connsiteY84" fmla="*/ 380309 h 918344"/>
              <a:gd name="connsiteX85" fmla="*/ 7644411 w 9517857"/>
              <a:gd name="connsiteY85" fmla="*/ 258974 h 918344"/>
              <a:gd name="connsiteX86" fmla="*/ 7825110 w 9517857"/>
              <a:gd name="connsiteY86" fmla="*/ 229097 h 918344"/>
              <a:gd name="connsiteX87" fmla="*/ 7965804 w 9517857"/>
              <a:gd name="connsiteY87" fmla="*/ 190533 h 918344"/>
              <a:gd name="connsiteX88" fmla="*/ 8147401 w 9517857"/>
              <a:gd name="connsiteY88" fmla="*/ 205605 h 918344"/>
              <a:gd name="connsiteX89" fmla="*/ 8256033 w 9517857"/>
              <a:gd name="connsiteY89" fmla="*/ 193701 h 918344"/>
              <a:gd name="connsiteX90" fmla="*/ 8551625 w 9517857"/>
              <a:gd name="connsiteY90" fmla="*/ 161505 h 918344"/>
              <a:gd name="connsiteX91" fmla="*/ 8715976 w 9517857"/>
              <a:gd name="connsiteY91" fmla="*/ 178362 h 918344"/>
              <a:gd name="connsiteX92" fmla="*/ 8778827 w 9517857"/>
              <a:gd name="connsiteY92" fmla="*/ 172924 h 918344"/>
              <a:gd name="connsiteX93" fmla="*/ 8840778 w 9517857"/>
              <a:gd name="connsiteY93" fmla="*/ 143137 h 918344"/>
              <a:gd name="connsiteX94" fmla="*/ 9010380 w 9517857"/>
              <a:gd name="connsiteY94" fmla="*/ 91879 h 918344"/>
              <a:gd name="connsiteX95" fmla="*/ 9110856 w 9517857"/>
              <a:gd name="connsiteY95" fmla="*/ 70985 h 918344"/>
              <a:gd name="connsiteX96" fmla="*/ 9268817 w 9517857"/>
              <a:gd name="connsiteY96" fmla="*/ 53070 h 918344"/>
              <a:gd name="connsiteX97" fmla="*/ 9316667 w 9517857"/>
              <a:gd name="connsiteY97" fmla="*/ 45035 h 918344"/>
              <a:gd name="connsiteX98" fmla="*/ 9428209 w 9517857"/>
              <a:gd name="connsiteY98" fmla="*/ 29911 h 918344"/>
              <a:gd name="connsiteX0" fmla="*/ 4686423 w 9517857"/>
              <a:gd name="connsiteY0" fmla="*/ 247907 h 918344"/>
              <a:gd name="connsiteX1" fmla="*/ 4689051 w 9517857"/>
              <a:gd name="connsiteY1" fmla="*/ 250956 h 918344"/>
              <a:gd name="connsiteX2" fmla="*/ 4687244 w 9517857"/>
              <a:gd name="connsiteY2" fmla="*/ 251286 h 918344"/>
              <a:gd name="connsiteX3" fmla="*/ 4686423 w 9517857"/>
              <a:gd name="connsiteY3" fmla="*/ 247907 h 918344"/>
              <a:gd name="connsiteX4" fmla="*/ 4685225 w 9517857"/>
              <a:gd name="connsiteY4" fmla="*/ 246518 h 918344"/>
              <a:gd name="connsiteX5" fmla="*/ 4686133 w 9517857"/>
              <a:gd name="connsiteY5" fmla="*/ 246715 h 918344"/>
              <a:gd name="connsiteX6" fmla="*/ 4686423 w 9517857"/>
              <a:gd name="connsiteY6" fmla="*/ 247907 h 918344"/>
              <a:gd name="connsiteX7" fmla="*/ 4685225 w 9517857"/>
              <a:gd name="connsiteY7" fmla="*/ 246518 h 918344"/>
              <a:gd name="connsiteX8" fmla="*/ 9428209 w 9517857"/>
              <a:gd name="connsiteY8" fmla="*/ 29911 h 918344"/>
              <a:gd name="connsiteX9" fmla="*/ 9517857 w 9517857"/>
              <a:gd name="connsiteY9" fmla="*/ 0 h 918344"/>
              <a:gd name="connsiteX10" fmla="*/ 9517857 w 9517857"/>
              <a:gd name="connsiteY10" fmla="*/ 918344 h 918344"/>
              <a:gd name="connsiteX11" fmla="*/ 14604 w 9517857"/>
              <a:gd name="connsiteY11" fmla="*/ 918344 h 918344"/>
              <a:gd name="connsiteX12" fmla="*/ 12841 w 9517857"/>
              <a:gd name="connsiteY12" fmla="*/ 917751 h 918344"/>
              <a:gd name="connsiteX13" fmla="*/ 93 w 9517857"/>
              <a:gd name="connsiteY13" fmla="*/ 912459 h 918344"/>
              <a:gd name="connsiteX14" fmla="*/ 58674 w 9517857"/>
              <a:gd name="connsiteY14" fmla="*/ 890310 h 918344"/>
              <a:gd name="connsiteX15" fmla="*/ 275005 w 9517857"/>
              <a:gd name="connsiteY15" fmla="*/ 807217 h 918344"/>
              <a:gd name="connsiteX16" fmla="*/ 587824 w 9517857"/>
              <a:gd name="connsiteY16" fmla="*/ 798183 h 918344"/>
              <a:gd name="connsiteX17" fmla="*/ 651826 w 9517857"/>
              <a:gd name="connsiteY17" fmla="*/ 738326 h 918344"/>
              <a:gd name="connsiteX18" fmla="*/ 727985 w 9517857"/>
              <a:gd name="connsiteY18" fmla="*/ 719814 h 918344"/>
              <a:gd name="connsiteX19" fmla="*/ 778982 w 9517857"/>
              <a:gd name="connsiteY19" fmla="*/ 710130 h 918344"/>
              <a:gd name="connsiteX20" fmla="*/ 849944 w 9517857"/>
              <a:gd name="connsiteY20" fmla="*/ 717975 h 918344"/>
              <a:gd name="connsiteX21" fmla="*/ 921659 w 9517857"/>
              <a:gd name="connsiteY21" fmla="*/ 712683 h 918344"/>
              <a:gd name="connsiteX22" fmla="*/ 930946 w 9517857"/>
              <a:gd name="connsiteY22" fmla="*/ 734034 h 918344"/>
              <a:gd name="connsiteX23" fmla="*/ 986250 w 9517857"/>
              <a:gd name="connsiteY23" fmla="*/ 713518 h 918344"/>
              <a:gd name="connsiteX24" fmla="*/ 1013752 w 9517857"/>
              <a:gd name="connsiteY24" fmla="*/ 713349 h 918344"/>
              <a:gd name="connsiteX25" fmla="*/ 1023734 w 9517857"/>
              <a:gd name="connsiteY25" fmla="*/ 718559 h 918344"/>
              <a:gd name="connsiteX26" fmla="*/ 1063207 w 9517857"/>
              <a:gd name="connsiteY26" fmla="*/ 715639 h 918344"/>
              <a:gd name="connsiteX27" fmla="*/ 1081980 w 9517857"/>
              <a:gd name="connsiteY27" fmla="*/ 738443 h 918344"/>
              <a:gd name="connsiteX28" fmla="*/ 1218120 w 9517857"/>
              <a:gd name="connsiteY28" fmla="*/ 713268 h 918344"/>
              <a:gd name="connsiteX29" fmla="*/ 1397459 w 9517857"/>
              <a:gd name="connsiteY29" fmla="*/ 691178 h 918344"/>
              <a:gd name="connsiteX30" fmla="*/ 1580688 w 9517857"/>
              <a:gd name="connsiteY30" fmla="*/ 693685 h 918344"/>
              <a:gd name="connsiteX31" fmla="*/ 1772334 w 9517857"/>
              <a:gd name="connsiteY31" fmla="*/ 710628 h 918344"/>
              <a:gd name="connsiteX32" fmla="*/ 2002561 w 9517857"/>
              <a:gd name="connsiteY32" fmla="*/ 659905 h 918344"/>
              <a:gd name="connsiteX33" fmla="*/ 2135144 w 9517857"/>
              <a:gd name="connsiteY33" fmla="*/ 636489 h 918344"/>
              <a:gd name="connsiteX34" fmla="*/ 2440292 w 9517857"/>
              <a:gd name="connsiteY34" fmla="*/ 593850 h 918344"/>
              <a:gd name="connsiteX35" fmla="*/ 2547829 w 9517857"/>
              <a:gd name="connsiteY35" fmla="*/ 566138 h 918344"/>
              <a:gd name="connsiteX36" fmla="*/ 2658055 w 9517857"/>
              <a:gd name="connsiteY36" fmla="*/ 578715 h 918344"/>
              <a:gd name="connsiteX37" fmla="*/ 2693698 w 9517857"/>
              <a:gd name="connsiteY37" fmla="*/ 560017 h 918344"/>
              <a:gd name="connsiteX38" fmla="*/ 2699673 w 9517857"/>
              <a:gd name="connsiteY38" fmla="*/ 556388 h 918344"/>
              <a:gd name="connsiteX39" fmla="*/ 2727306 w 9517857"/>
              <a:gd name="connsiteY39" fmla="*/ 550686 h 918344"/>
              <a:gd name="connsiteX40" fmla="*/ 2730451 w 9517857"/>
              <a:gd name="connsiteY40" fmla="*/ 538046 h 918344"/>
              <a:gd name="connsiteX41" fmla="*/ 2768713 w 9517857"/>
              <a:gd name="connsiteY41" fmla="*/ 521563 h 918344"/>
              <a:gd name="connsiteX42" fmla="*/ 2820868 w 9517857"/>
              <a:gd name="connsiteY42" fmla="*/ 514148 h 918344"/>
              <a:gd name="connsiteX43" fmla="*/ 3073635 w 9517857"/>
              <a:gd name="connsiteY43" fmla="*/ 491282 h 918344"/>
              <a:gd name="connsiteX44" fmla="*/ 3222071 w 9517857"/>
              <a:gd name="connsiteY44" fmla="*/ 470547 h 918344"/>
              <a:gd name="connsiteX45" fmla="*/ 3274069 w 9517857"/>
              <a:gd name="connsiteY45" fmla="*/ 451593 h 918344"/>
              <a:gd name="connsiteX46" fmla="*/ 3349632 w 9517857"/>
              <a:gd name="connsiteY46" fmla="*/ 432571 h 918344"/>
              <a:gd name="connsiteX47" fmla="*/ 3479593 w 9517857"/>
              <a:gd name="connsiteY47" fmla="*/ 390425 h 918344"/>
              <a:gd name="connsiteX48" fmla="*/ 3750023 w 9517857"/>
              <a:gd name="connsiteY48" fmla="*/ 370666 h 918344"/>
              <a:gd name="connsiteX49" fmla="*/ 3844133 w 9517857"/>
              <a:gd name="connsiteY49" fmla="*/ 360636 h 918344"/>
              <a:gd name="connsiteX50" fmla="*/ 3913545 w 9517857"/>
              <a:gd name="connsiteY50" fmla="*/ 344223 h 918344"/>
              <a:gd name="connsiteX51" fmla="*/ 4266740 w 9517857"/>
              <a:gd name="connsiteY51" fmla="*/ 361442 h 918344"/>
              <a:gd name="connsiteX52" fmla="*/ 4430770 w 9517857"/>
              <a:gd name="connsiteY52" fmla="*/ 342631 h 918344"/>
              <a:gd name="connsiteX53" fmla="*/ 4512664 w 9517857"/>
              <a:gd name="connsiteY53" fmla="*/ 319936 h 918344"/>
              <a:gd name="connsiteX54" fmla="*/ 4616423 w 9517857"/>
              <a:gd name="connsiteY54" fmla="*/ 290902 h 918344"/>
              <a:gd name="connsiteX55" fmla="*/ 4691675 w 9517857"/>
              <a:gd name="connsiteY55" fmla="*/ 253999 h 918344"/>
              <a:gd name="connsiteX56" fmla="*/ 4689051 w 9517857"/>
              <a:gd name="connsiteY56" fmla="*/ 250956 h 918344"/>
              <a:gd name="connsiteX57" fmla="*/ 4719994 w 9517857"/>
              <a:gd name="connsiteY57" fmla="*/ 245295 h 918344"/>
              <a:gd name="connsiteX58" fmla="*/ 4752894 w 9517857"/>
              <a:gd name="connsiteY58" fmla="*/ 239863 h 918344"/>
              <a:gd name="connsiteX59" fmla="*/ 4769329 w 9517857"/>
              <a:gd name="connsiteY59" fmla="*/ 233573 h 918344"/>
              <a:gd name="connsiteX60" fmla="*/ 4775634 w 9517857"/>
              <a:gd name="connsiteY60" fmla="*/ 234051 h 918344"/>
              <a:gd name="connsiteX61" fmla="*/ 4790452 w 9517857"/>
              <a:gd name="connsiteY61" fmla="*/ 233560 h 918344"/>
              <a:gd name="connsiteX62" fmla="*/ 4789062 w 9517857"/>
              <a:gd name="connsiteY62" fmla="*/ 241912 h 918344"/>
              <a:gd name="connsiteX63" fmla="*/ 4827826 w 9517857"/>
              <a:gd name="connsiteY63" fmla="*/ 246965 h 918344"/>
              <a:gd name="connsiteX64" fmla="*/ 4892569 w 9517857"/>
              <a:gd name="connsiteY64" fmla="*/ 249921 h 918344"/>
              <a:gd name="connsiteX65" fmla="*/ 4896611 w 9517857"/>
              <a:gd name="connsiteY65" fmla="*/ 240436 h 918344"/>
              <a:gd name="connsiteX66" fmla="*/ 4917286 w 9517857"/>
              <a:gd name="connsiteY66" fmla="*/ 243647 h 918344"/>
              <a:gd name="connsiteX67" fmla="*/ 5060397 w 9517857"/>
              <a:gd name="connsiteY67" fmla="*/ 263676 h 918344"/>
              <a:gd name="connsiteX68" fmla="*/ 5252996 w 9517857"/>
              <a:gd name="connsiteY68" fmla="*/ 270643 h 918344"/>
              <a:gd name="connsiteX69" fmla="*/ 5358056 w 9517857"/>
              <a:gd name="connsiteY69" fmla="*/ 247236 h 918344"/>
              <a:gd name="connsiteX70" fmla="*/ 5426496 w 9517857"/>
              <a:gd name="connsiteY70" fmla="*/ 235130 h 918344"/>
              <a:gd name="connsiteX71" fmla="*/ 5497161 w 9517857"/>
              <a:gd name="connsiteY71" fmla="*/ 228796 h 918344"/>
              <a:gd name="connsiteX72" fmla="*/ 5856152 w 9517857"/>
              <a:gd name="connsiteY72" fmla="*/ 156354 h 918344"/>
              <a:gd name="connsiteX73" fmla="*/ 6014778 w 9517857"/>
              <a:gd name="connsiteY73" fmla="*/ 168326 h 918344"/>
              <a:gd name="connsiteX74" fmla="*/ 6194152 w 9517857"/>
              <a:gd name="connsiteY74" fmla="*/ 151760 h 918344"/>
              <a:gd name="connsiteX75" fmla="*/ 6281379 w 9517857"/>
              <a:gd name="connsiteY75" fmla="*/ 181614 h 918344"/>
              <a:gd name="connsiteX76" fmla="*/ 6374947 w 9517857"/>
              <a:gd name="connsiteY76" fmla="*/ 179787 h 918344"/>
              <a:gd name="connsiteX77" fmla="*/ 6448518 w 9517857"/>
              <a:gd name="connsiteY77" fmla="*/ 164366 h 918344"/>
              <a:gd name="connsiteX78" fmla="*/ 6544700 w 9517857"/>
              <a:gd name="connsiteY78" fmla="*/ 167149 h 918344"/>
              <a:gd name="connsiteX79" fmla="*/ 6648353 w 9517857"/>
              <a:gd name="connsiteY79" fmla="*/ 172238 h 918344"/>
              <a:gd name="connsiteX80" fmla="*/ 6736227 w 9517857"/>
              <a:gd name="connsiteY80" fmla="*/ 173204 h 918344"/>
              <a:gd name="connsiteX81" fmla="*/ 6977218 w 9517857"/>
              <a:gd name="connsiteY81" fmla="*/ 184277 h 918344"/>
              <a:gd name="connsiteX82" fmla="*/ 7065221 w 9517857"/>
              <a:gd name="connsiteY82" fmla="*/ 227519 h 918344"/>
              <a:gd name="connsiteX83" fmla="*/ 7366801 w 9517857"/>
              <a:gd name="connsiteY83" fmla="*/ 258938 h 918344"/>
              <a:gd name="connsiteX84" fmla="*/ 7350974 w 9517857"/>
              <a:gd name="connsiteY84" fmla="*/ 380309 h 918344"/>
              <a:gd name="connsiteX85" fmla="*/ 7644411 w 9517857"/>
              <a:gd name="connsiteY85" fmla="*/ 258974 h 918344"/>
              <a:gd name="connsiteX86" fmla="*/ 7825110 w 9517857"/>
              <a:gd name="connsiteY86" fmla="*/ 229097 h 918344"/>
              <a:gd name="connsiteX87" fmla="*/ 7965804 w 9517857"/>
              <a:gd name="connsiteY87" fmla="*/ 190533 h 918344"/>
              <a:gd name="connsiteX88" fmla="*/ 8147401 w 9517857"/>
              <a:gd name="connsiteY88" fmla="*/ 205605 h 918344"/>
              <a:gd name="connsiteX89" fmla="*/ 8256033 w 9517857"/>
              <a:gd name="connsiteY89" fmla="*/ 193701 h 918344"/>
              <a:gd name="connsiteX90" fmla="*/ 8551625 w 9517857"/>
              <a:gd name="connsiteY90" fmla="*/ 161505 h 918344"/>
              <a:gd name="connsiteX91" fmla="*/ 8715976 w 9517857"/>
              <a:gd name="connsiteY91" fmla="*/ 178362 h 918344"/>
              <a:gd name="connsiteX92" fmla="*/ 8778827 w 9517857"/>
              <a:gd name="connsiteY92" fmla="*/ 172924 h 918344"/>
              <a:gd name="connsiteX93" fmla="*/ 8840778 w 9517857"/>
              <a:gd name="connsiteY93" fmla="*/ 143137 h 918344"/>
              <a:gd name="connsiteX94" fmla="*/ 9010380 w 9517857"/>
              <a:gd name="connsiteY94" fmla="*/ 91879 h 918344"/>
              <a:gd name="connsiteX95" fmla="*/ 9110856 w 9517857"/>
              <a:gd name="connsiteY95" fmla="*/ 70985 h 918344"/>
              <a:gd name="connsiteX96" fmla="*/ 9268817 w 9517857"/>
              <a:gd name="connsiteY96" fmla="*/ 53070 h 918344"/>
              <a:gd name="connsiteX97" fmla="*/ 9316667 w 9517857"/>
              <a:gd name="connsiteY97" fmla="*/ 45035 h 918344"/>
              <a:gd name="connsiteX98" fmla="*/ 9428209 w 9517857"/>
              <a:gd name="connsiteY98" fmla="*/ 29911 h 918344"/>
              <a:gd name="connsiteX0" fmla="*/ 4686423 w 9517857"/>
              <a:gd name="connsiteY0" fmla="*/ 247907 h 918344"/>
              <a:gd name="connsiteX1" fmla="*/ 4689051 w 9517857"/>
              <a:gd name="connsiteY1" fmla="*/ 250956 h 918344"/>
              <a:gd name="connsiteX2" fmla="*/ 4687244 w 9517857"/>
              <a:gd name="connsiteY2" fmla="*/ 251286 h 918344"/>
              <a:gd name="connsiteX3" fmla="*/ 4686423 w 9517857"/>
              <a:gd name="connsiteY3" fmla="*/ 247907 h 918344"/>
              <a:gd name="connsiteX4" fmla="*/ 4685225 w 9517857"/>
              <a:gd name="connsiteY4" fmla="*/ 246518 h 918344"/>
              <a:gd name="connsiteX5" fmla="*/ 4686133 w 9517857"/>
              <a:gd name="connsiteY5" fmla="*/ 246715 h 918344"/>
              <a:gd name="connsiteX6" fmla="*/ 4686423 w 9517857"/>
              <a:gd name="connsiteY6" fmla="*/ 247907 h 918344"/>
              <a:gd name="connsiteX7" fmla="*/ 4685225 w 9517857"/>
              <a:gd name="connsiteY7" fmla="*/ 246518 h 918344"/>
              <a:gd name="connsiteX8" fmla="*/ 9428209 w 9517857"/>
              <a:gd name="connsiteY8" fmla="*/ 29911 h 918344"/>
              <a:gd name="connsiteX9" fmla="*/ 9517857 w 9517857"/>
              <a:gd name="connsiteY9" fmla="*/ 0 h 918344"/>
              <a:gd name="connsiteX10" fmla="*/ 9517857 w 9517857"/>
              <a:gd name="connsiteY10" fmla="*/ 918344 h 918344"/>
              <a:gd name="connsiteX11" fmla="*/ 14604 w 9517857"/>
              <a:gd name="connsiteY11" fmla="*/ 918344 h 918344"/>
              <a:gd name="connsiteX12" fmla="*/ 12841 w 9517857"/>
              <a:gd name="connsiteY12" fmla="*/ 917751 h 918344"/>
              <a:gd name="connsiteX13" fmla="*/ 93 w 9517857"/>
              <a:gd name="connsiteY13" fmla="*/ 912459 h 918344"/>
              <a:gd name="connsiteX14" fmla="*/ 58674 w 9517857"/>
              <a:gd name="connsiteY14" fmla="*/ 890310 h 918344"/>
              <a:gd name="connsiteX15" fmla="*/ 275005 w 9517857"/>
              <a:gd name="connsiteY15" fmla="*/ 807217 h 918344"/>
              <a:gd name="connsiteX16" fmla="*/ 587824 w 9517857"/>
              <a:gd name="connsiteY16" fmla="*/ 798183 h 918344"/>
              <a:gd name="connsiteX17" fmla="*/ 651826 w 9517857"/>
              <a:gd name="connsiteY17" fmla="*/ 738326 h 918344"/>
              <a:gd name="connsiteX18" fmla="*/ 727985 w 9517857"/>
              <a:gd name="connsiteY18" fmla="*/ 719814 h 918344"/>
              <a:gd name="connsiteX19" fmla="*/ 778982 w 9517857"/>
              <a:gd name="connsiteY19" fmla="*/ 710130 h 918344"/>
              <a:gd name="connsiteX20" fmla="*/ 849944 w 9517857"/>
              <a:gd name="connsiteY20" fmla="*/ 717975 h 918344"/>
              <a:gd name="connsiteX21" fmla="*/ 921659 w 9517857"/>
              <a:gd name="connsiteY21" fmla="*/ 712683 h 918344"/>
              <a:gd name="connsiteX22" fmla="*/ 930946 w 9517857"/>
              <a:gd name="connsiteY22" fmla="*/ 734034 h 918344"/>
              <a:gd name="connsiteX23" fmla="*/ 986250 w 9517857"/>
              <a:gd name="connsiteY23" fmla="*/ 713518 h 918344"/>
              <a:gd name="connsiteX24" fmla="*/ 1013752 w 9517857"/>
              <a:gd name="connsiteY24" fmla="*/ 713349 h 918344"/>
              <a:gd name="connsiteX25" fmla="*/ 1023734 w 9517857"/>
              <a:gd name="connsiteY25" fmla="*/ 718559 h 918344"/>
              <a:gd name="connsiteX26" fmla="*/ 1063207 w 9517857"/>
              <a:gd name="connsiteY26" fmla="*/ 715639 h 918344"/>
              <a:gd name="connsiteX27" fmla="*/ 1081980 w 9517857"/>
              <a:gd name="connsiteY27" fmla="*/ 738443 h 918344"/>
              <a:gd name="connsiteX28" fmla="*/ 1218120 w 9517857"/>
              <a:gd name="connsiteY28" fmla="*/ 713268 h 918344"/>
              <a:gd name="connsiteX29" fmla="*/ 1397459 w 9517857"/>
              <a:gd name="connsiteY29" fmla="*/ 691178 h 918344"/>
              <a:gd name="connsiteX30" fmla="*/ 1580688 w 9517857"/>
              <a:gd name="connsiteY30" fmla="*/ 693685 h 918344"/>
              <a:gd name="connsiteX31" fmla="*/ 1772334 w 9517857"/>
              <a:gd name="connsiteY31" fmla="*/ 710628 h 918344"/>
              <a:gd name="connsiteX32" fmla="*/ 2002561 w 9517857"/>
              <a:gd name="connsiteY32" fmla="*/ 659905 h 918344"/>
              <a:gd name="connsiteX33" fmla="*/ 2135144 w 9517857"/>
              <a:gd name="connsiteY33" fmla="*/ 636489 h 918344"/>
              <a:gd name="connsiteX34" fmla="*/ 2440292 w 9517857"/>
              <a:gd name="connsiteY34" fmla="*/ 593850 h 918344"/>
              <a:gd name="connsiteX35" fmla="*/ 2547829 w 9517857"/>
              <a:gd name="connsiteY35" fmla="*/ 566138 h 918344"/>
              <a:gd name="connsiteX36" fmla="*/ 2658055 w 9517857"/>
              <a:gd name="connsiteY36" fmla="*/ 578715 h 918344"/>
              <a:gd name="connsiteX37" fmla="*/ 2693698 w 9517857"/>
              <a:gd name="connsiteY37" fmla="*/ 560017 h 918344"/>
              <a:gd name="connsiteX38" fmla="*/ 2699673 w 9517857"/>
              <a:gd name="connsiteY38" fmla="*/ 556388 h 918344"/>
              <a:gd name="connsiteX39" fmla="*/ 2727306 w 9517857"/>
              <a:gd name="connsiteY39" fmla="*/ 550686 h 918344"/>
              <a:gd name="connsiteX40" fmla="*/ 2730451 w 9517857"/>
              <a:gd name="connsiteY40" fmla="*/ 538046 h 918344"/>
              <a:gd name="connsiteX41" fmla="*/ 2768713 w 9517857"/>
              <a:gd name="connsiteY41" fmla="*/ 521563 h 918344"/>
              <a:gd name="connsiteX42" fmla="*/ 2820868 w 9517857"/>
              <a:gd name="connsiteY42" fmla="*/ 514148 h 918344"/>
              <a:gd name="connsiteX43" fmla="*/ 3073635 w 9517857"/>
              <a:gd name="connsiteY43" fmla="*/ 491282 h 918344"/>
              <a:gd name="connsiteX44" fmla="*/ 3222071 w 9517857"/>
              <a:gd name="connsiteY44" fmla="*/ 470547 h 918344"/>
              <a:gd name="connsiteX45" fmla="*/ 3274069 w 9517857"/>
              <a:gd name="connsiteY45" fmla="*/ 451593 h 918344"/>
              <a:gd name="connsiteX46" fmla="*/ 3349632 w 9517857"/>
              <a:gd name="connsiteY46" fmla="*/ 432571 h 918344"/>
              <a:gd name="connsiteX47" fmla="*/ 3479593 w 9517857"/>
              <a:gd name="connsiteY47" fmla="*/ 390425 h 918344"/>
              <a:gd name="connsiteX48" fmla="*/ 3750023 w 9517857"/>
              <a:gd name="connsiteY48" fmla="*/ 370666 h 918344"/>
              <a:gd name="connsiteX49" fmla="*/ 3844133 w 9517857"/>
              <a:gd name="connsiteY49" fmla="*/ 360636 h 918344"/>
              <a:gd name="connsiteX50" fmla="*/ 3913545 w 9517857"/>
              <a:gd name="connsiteY50" fmla="*/ 344223 h 918344"/>
              <a:gd name="connsiteX51" fmla="*/ 4266740 w 9517857"/>
              <a:gd name="connsiteY51" fmla="*/ 361442 h 918344"/>
              <a:gd name="connsiteX52" fmla="*/ 4430770 w 9517857"/>
              <a:gd name="connsiteY52" fmla="*/ 342631 h 918344"/>
              <a:gd name="connsiteX53" fmla="*/ 4512664 w 9517857"/>
              <a:gd name="connsiteY53" fmla="*/ 319936 h 918344"/>
              <a:gd name="connsiteX54" fmla="*/ 4616423 w 9517857"/>
              <a:gd name="connsiteY54" fmla="*/ 290902 h 918344"/>
              <a:gd name="connsiteX55" fmla="*/ 4691675 w 9517857"/>
              <a:gd name="connsiteY55" fmla="*/ 253999 h 918344"/>
              <a:gd name="connsiteX56" fmla="*/ 4689051 w 9517857"/>
              <a:gd name="connsiteY56" fmla="*/ 250956 h 918344"/>
              <a:gd name="connsiteX57" fmla="*/ 4719994 w 9517857"/>
              <a:gd name="connsiteY57" fmla="*/ 245295 h 918344"/>
              <a:gd name="connsiteX58" fmla="*/ 4752894 w 9517857"/>
              <a:gd name="connsiteY58" fmla="*/ 239863 h 918344"/>
              <a:gd name="connsiteX59" fmla="*/ 4769329 w 9517857"/>
              <a:gd name="connsiteY59" fmla="*/ 233573 h 918344"/>
              <a:gd name="connsiteX60" fmla="*/ 4775634 w 9517857"/>
              <a:gd name="connsiteY60" fmla="*/ 234051 h 918344"/>
              <a:gd name="connsiteX61" fmla="*/ 4790452 w 9517857"/>
              <a:gd name="connsiteY61" fmla="*/ 233560 h 918344"/>
              <a:gd name="connsiteX62" fmla="*/ 4789062 w 9517857"/>
              <a:gd name="connsiteY62" fmla="*/ 241912 h 918344"/>
              <a:gd name="connsiteX63" fmla="*/ 4827826 w 9517857"/>
              <a:gd name="connsiteY63" fmla="*/ 246965 h 918344"/>
              <a:gd name="connsiteX64" fmla="*/ 4892569 w 9517857"/>
              <a:gd name="connsiteY64" fmla="*/ 249921 h 918344"/>
              <a:gd name="connsiteX65" fmla="*/ 4896611 w 9517857"/>
              <a:gd name="connsiteY65" fmla="*/ 240436 h 918344"/>
              <a:gd name="connsiteX66" fmla="*/ 4917286 w 9517857"/>
              <a:gd name="connsiteY66" fmla="*/ 243647 h 918344"/>
              <a:gd name="connsiteX67" fmla="*/ 5060397 w 9517857"/>
              <a:gd name="connsiteY67" fmla="*/ 263676 h 918344"/>
              <a:gd name="connsiteX68" fmla="*/ 5252996 w 9517857"/>
              <a:gd name="connsiteY68" fmla="*/ 270643 h 918344"/>
              <a:gd name="connsiteX69" fmla="*/ 5358056 w 9517857"/>
              <a:gd name="connsiteY69" fmla="*/ 247236 h 918344"/>
              <a:gd name="connsiteX70" fmla="*/ 5426496 w 9517857"/>
              <a:gd name="connsiteY70" fmla="*/ 235130 h 918344"/>
              <a:gd name="connsiteX71" fmla="*/ 5497161 w 9517857"/>
              <a:gd name="connsiteY71" fmla="*/ 228796 h 918344"/>
              <a:gd name="connsiteX72" fmla="*/ 5856152 w 9517857"/>
              <a:gd name="connsiteY72" fmla="*/ 156354 h 918344"/>
              <a:gd name="connsiteX73" fmla="*/ 6014778 w 9517857"/>
              <a:gd name="connsiteY73" fmla="*/ 168326 h 918344"/>
              <a:gd name="connsiteX74" fmla="*/ 6194152 w 9517857"/>
              <a:gd name="connsiteY74" fmla="*/ 151760 h 918344"/>
              <a:gd name="connsiteX75" fmla="*/ 6281379 w 9517857"/>
              <a:gd name="connsiteY75" fmla="*/ 181614 h 918344"/>
              <a:gd name="connsiteX76" fmla="*/ 6374947 w 9517857"/>
              <a:gd name="connsiteY76" fmla="*/ 179787 h 918344"/>
              <a:gd name="connsiteX77" fmla="*/ 6448518 w 9517857"/>
              <a:gd name="connsiteY77" fmla="*/ 164366 h 918344"/>
              <a:gd name="connsiteX78" fmla="*/ 6544700 w 9517857"/>
              <a:gd name="connsiteY78" fmla="*/ 167149 h 918344"/>
              <a:gd name="connsiteX79" fmla="*/ 6648353 w 9517857"/>
              <a:gd name="connsiteY79" fmla="*/ 172238 h 918344"/>
              <a:gd name="connsiteX80" fmla="*/ 6736227 w 9517857"/>
              <a:gd name="connsiteY80" fmla="*/ 173204 h 918344"/>
              <a:gd name="connsiteX81" fmla="*/ 6977218 w 9517857"/>
              <a:gd name="connsiteY81" fmla="*/ 184277 h 918344"/>
              <a:gd name="connsiteX82" fmla="*/ 7065221 w 9517857"/>
              <a:gd name="connsiteY82" fmla="*/ 227519 h 918344"/>
              <a:gd name="connsiteX83" fmla="*/ 7366801 w 9517857"/>
              <a:gd name="connsiteY83" fmla="*/ 258938 h 918344"/>
              <a:gd name="connsiteX84" fmla="*/ 7433745 w 9517857"/>
              <a:gd name="connsiteY84" fmla="*/ 246959 h 918344"/>
              <a:gd name="connsiteX85" fmla="*/ 7644411 w 9517857"/>
              <a:gd name="connsiteY85" fmla="*/ 258974 h 918344"/>
              <a:gd name="connsiteX86" fmla="*/ 7825110 w 9517857"/>
              <a:gd name="connsiteY86" fmla="*/ 229097 h 918344"/>
              <a:gd name="connsiteX87" fmla="*/ 7965804 w 9517857"/>
              <a:gd name="connsiteY87" fmla="*/ 190533 h 918344"/>
              <a:gd name="connsiteX88" fmla="*/ 8147401 w 9517857"/>
              <a:gd name="connsiteY88" fmla="*/ 205605 h 918344"/>
              <a:gd name="connsiteX89" fmla="*/ 8256033 w 9517857"/>
              <a:gd name="connsiteY89" fmla="*/ 193701 h 918344"/>
              <a:gd name="connsiteX90" fmla="*/ 8551625 w 9517857"/>
              <a:gd name="connsiteY90" fmla="*/ 161505 h 918344"/>
              <a:gd name="connsiteX91" fmla="*/ 8715976 w 9517857"/>
              <a:gd name="connsiteY91" fmla="*/ 178362 h 918344"/>
              <a:gd name="connsiteX92" fmla="*/ 8778827 w 9517857"/>
              <a:gd name="connsiteY92" fmla="*/ 172924 h 918344"/>
              <a:gd name="connsiteX93" fmla="*/ 8840778 w 9517857"/>
              <a:gd name="connsiteY93" fmla="*/ 143137 h 918344"/>
              <a:gd name="connsiteX94" fmla="*/ 9010380 w 9517857"/>
              <a:gd name="connsiteY94" fmla="*/ 91879 h 918344"/>
              <a:gd name="connsiteX95" fmla="*/ 9110856 w 9517857"/>
              <a:gd name="connsiteY95" fmla="*/ 70985 h 918344"/>
              <a:gd name="connsiteX96" fmla="*/ 9268817 w 9517857"/>
              <a:gd name="connsiteY96" fmla="*/ 53070 h 918344"/>
              <a:gd name="connsiteX97" fmla="*/ 9316667 w 9517857"/>
              <a:gd name="connsiteY97" fmla="*/ 45035 h 918344"/>
              <a:gd name="connsiteX98" fmla="*/ 9428209 w 9517857"/>
              <a:gd name="connsiteY98" fmla="*/ 29911 h 918344"/>
              <a:gd name="connsiteX0" fmla="*/ 4686423 w 9517857"/>
              <a:gd name="connsiteY0" fmla="*/ 247907 h 918344"/>
              <a:gd name="connsiteX1" fmla="*/ 4689051 w 9517857"/>
              <a:gd name="connsiteY1" fmla="*/ 250956 h 918344"/>
              <a:gd name="connsiteX2" fmla="*/ 4687244 w 9517857"/>
              <a:gd name="connsiteY2" fmla="*/ 251286 h 918344"/>
              <a:gd name="connsiteX3" fmla="*/ 4686423 w 9517857"/>
              <a:gd name="connsiteY3" fmla="*/ 247907 h 918344"/>
              <a:gd name="connsiteX4" fmla="*/ 4685225 w 9517857"/>
              <a:gd name="connsiteY4" fmla="*/ 246518 h 918344"/>
              <a:gd name="connsiteX5" fmla="*/ 4686133 w 9517857"/>
              <a:gd name="connsiteY5" fmla="*/ 246715 h 918344"/>
              <a:gd name="connsiteX6" fmla="*/ 4686423 w 9517857"/>
              <a:gd name="connsiteY6" fmla="*/ 247907 h 918344"/>
              <a:gd name="connsiteX7" fmla="*/ 4685225 w 9517857"/>
              <a:gd name="connsiteY7" fmla="*/ 246518 h 918344"/>
              <a:gd name="connsiteX8" fmla="*/ 9428209 w 9517857"/>
              <a:gd name="connsiteY8" fmla="*/ 29911 h 918344"/>
              <a:gd name="connsiteX9" fmla="*/ 9517857 w 9517857"/>
              <a:gd name="connsiteY9" fmla="*/ 0 h 918344"/>
              <a:gd name="connsiteX10" fmla="*/ 9517857 w 9517857"/>
              <a:gd name="connsiteY10" fmla="*/ 918344 h 918344"/>
              <a:gd name="connsiteX11" fmla="*/ 14604 w 9517857"/>
              <a:gd name="connsiteY11" fmla="*/ 918344 h 918344"/>
              <a:gd name="connsiteX12" fmla="*/ 12841 w 9517857"/>
              <a:gd name="connsiteY12" fmla="*/ 917751 h 918344"/>
              <a:gd name="connsiteX13" fmla="*/ 93 w 9517857"/>
              <a:gd name="connsiteY13" fmla="*/ 912459 h 918344"/>
              <a:gd name="connsiteX14" fmla="*/ 58674 w 9517857"/>
              <a:gd name="connsiteY14" fmla="*/ 890310 h 918344"/>
              <a:gd name="connsiteX15" fmla="*/ 275005 w 9517857"/>
              <a:gd name="connsiteY15" fmla="*/ 807217 h 918344"/>
              <a:gd name="connsiteX16" fmla="*/ 587824 w 9517857"/>
              <a:gd name="connsiteY16" fmla="*/ 798183 h 918344"/>
              <a:gd name="connsiteX17" fmla="*/ 651826 w 9517857"/>
              <a:gd name="connsiteY17" fmla="*/ 738326 h 918344"/>
              <a:gd name="connsiteX18" fmla="*/ 727985 w 9517857"/>
              <a:gd name="connsiteY18" fmla="*/ 719814 h 918344"/>
              <a:gd name="connsiteX19" fmla="*/ 778982 w 9517857"/>
              <a:gd name="connsiteY19" fmla="*/ 710130 h 918344"/>
              <a:gd name="connsiteX20" fmla="*/ 849944 w 9517857"/>
              <a:gd name="connsiteY20" fmla="*/ 717975 h 918344"/>
              <a:gd name="connsiteX21" fmla="*/ 921659 w 9517857"/>
              <a:gd name="connsiteY21" fmla="*/ 712683 h 918344"/>
              <a:gd name="connsiteX22" fmla="*/ 930946 w 9517857"/>
              <a:gd name="connsiteY22" fmla="*/ 734034 h 918344"/>
              <a:gd name="connsiteX23" fmla="*/ 986250 w 9517857"/>
              <a:gd name="connsiteY23" fmla="*/ 713518 h 918344"/>
              <a:gd name="connsiteX24" fmla="*/ 1013752 w 9517857"/>
              <a:gd name="connsiteY24" fmla="*/ 713349 h 918344"/>
              <a:gd name="connsiteX25" fmla="*/ 1023734 w 9517857"/>
              <a:gd name="connsiteY25" fmla="*/ 718559 h 918344"/>
              <a:gd name="connsiteX26" fmla="*/ 1063207 w 9517857"/>
              <a:gd name="connsiteY26" fmla="*/ 715639 h 918344"/>
              <a:gd name="connsiteX27" fmla="*/ 1081980 w 9517857"/>
              <a:gd name="connsiteY27" fmla="*/ 738443 h 918344"/>
              <a:gd name="connsiteX28" fmla="*/ 1218120 w 9517857"/>
              <a:gd name="connsiteY28" fmla="*/ 713268 h 918344"/>
              <a:gd name="connsiteX29" fmla="*/ 1397459 w 9517857"/>
              <a:gd name="connsiteY29" fmla="*/ 691178 h 918344"/>
              <a:gd name="connsiteX30" fmla="*/ 1580688 w 9517857"/>
              <a:gd name="connsiteY30" fmla="*/ 693685 h 918344"/>
              <a:gd name="connsiteX31" fmla="*/ 1772334 w 9517857"/>
              <a:gd name="connsiteY31" fmla="*/ 710628 h 918344"/>
              <a:gd name="connsiteX32" fmla="*/ 2002561 w 9517857"/>
              <a:gd name="connsiteY32" fmla="*/ 659905 h 918344"/>
              <a:gd name="connsiteX33" fmla="*/ 2135144 w 9517857"/>
              <a:gd name="connsiteY33" fmla="*/ 636489 h 918344"/>
              <a:gd name="connsiteX34" fmla="*/ 2547829 w 9517857"/>
              <a:gd name="connsiteY34" fmla="*/ 566138 h 918344"/>
              <a:gd name="connsiteX35" fmla="*/ 2658055 w 9517857"/>
              <a:gd name="connsiteY35" fmla="*/ 578715 h 918344"/>
              <a:gd name="connsiteX36" fmla="*/ 2693698 w 9517857"/>
              <a:gd name="connsiteY36" fmla="*/ 560017 h 918344"/>
              <a:gd name="connsiteX37" fmla="*/ 2699673 w 9517857"/>
              <a:gd name="connsiteY37" fmla="*/ 556388 h 918344"/>
              <a:gd name="connsiteX38" fmla="*/ 2727306 w 9517857"/>
              <a:gd name="connsiteY38" fmla="*/ 550686 h 918344"/>
              <a:gd name="connsiteX39" fmla="*/ 2730451 w 9517857"/>
              <a:gd name="connsiteY39" fmla="*/ 538046 h 918344"/>
              <a:gd name="connsiteX40" fmla="*/ 2768713 w 9517857"/>
              <a:gd name="connsiteY40" fmla="*/ 521563 h 918344"/>
              <a:gd name="connsiteX41" fmla="*/ 2820868 w 9517857"/>
              <a:gd name="connsiteY41" fmla="*/ 514148 h 918344"/>
              <a:gd name="connsiteX42" fmla="*/ 3073635 w 9517857"/>
              <a:gd name="connsiteY42" fmla="*/ 491282 h 918344"/>
              <a:gd name="connsiteX43" fmla="*/ 3222071 w 9517857"/>
              <a:gd name="connsiteY43" fmla="*/ 470547 h 918344"/>
              <a:gd name="connsiteX44" fmla="*/ 3274069 w 9517857"/>
              <a:gd name="connsiteY44" fmla="*/ 451593 h 918344"/>
              <a:gd name="connsiteX45" fmla="*/ 3349632 w 9517857"/>
              <a:gd name="connsiteY45" fmla="*/ 432571 h 918344"/>
              <a:gd name="connsiteX46" fmla="*/ 3479593 w 9517857"/>
              <a:gd name="connsiteY46" fmla="*/ 390425 h 918344"/>
              <a:gd name="connsiteX47" fmla="*/ 3750023 w 9517857"/>
              <a:gd name="connsiteY47" fmla="*/ 370666 h 918344"/>
              <a:gd name="connsiteX48" fmla="*/ 3844133 w 9517857"/>
              <a:gd name="connsiteY48" fmla="*/ 360636 h 918344"/>
              <a:gd name="connsiteX49" fmla="*/ 3913545 w 9517857"/>
              <a:gd name="connsiteY49" fmla="*/ 344223 h 918344"/>
              <a:gd name="connsiteX50" fmla="*/ 4266740 w 9517857"/>
              <a:gd name="connsiteY50" fmla="*/ 361442 h 918344"/>
              <a:gd name="connsiteX51" fmla="*/ 4430770 w 9517857"/>
              <a:gd name="connsiteY51" fmla="*/ 342631 h 918344"/>
              <a:gd name="connsiteX52" fmla="*/ 4512664 w 9517857"/>
              <a:gd name="connsiteY52" fmla="*/ 319936 h 918344"/>
              <a:gd name="connsiteX53" fmla="*/ 4616423 w 9517857"/>
              <a:gd name="connsiteY53" fmla="*/ 290902 h 918344"/>
              <a:gd name="connsiteX54" fmla="*/ 4691675 w 9517857"/>
              <a:gd name="connsiteY54" fmla="*/ 253999 h 918344"/>
              <a:gd name="connsiteX55" fmla="*/ 4689051 w 9517857"/>
              <a:gd name="connsiteY55" fmla="*/ 250956 h 918344"/>
              <a:gd name="connsiteX56" fmla="*/ 4719994 w 9517857"/>
              <a:gd name="connsiteY56" fmla="*/ 245295 h 918344"/>
              <a:gd name="connsiteX57" fmla="*/ 4752894 w 9517857"/>
              <a:gd name="connsiteY57" fmla="*/ 239863 h 918344"/>
              <a:gd name="connsiteX58" fmla="*/ 4769329 w 9517857"/>
              <a:gd name="connsiteY58" fmla="*/ 233573 h 918344"/>
              <a:gd name="connsiteX59" fmla="*/ 4775634 w 9517857"/>
              <a:gd name="connsiteY59" fmla="*/ 234051 h 918344"/>
              <a:gd name="connsiteX60" fmla="*/ 4790452 w 9517857"/>
              <a:gd name="connsiteY60" fmla="*/ 233560 h 918344"/>
              <a:gd name="connsiteX61" fmla="*/ 4789062 w 9517857"/>
              <a:gd name="connsiteY61" fmla="*/ 241912 h 918344"/>
              <a:gd name="connsiteX62" fmla="*/ 4827826 w 9517857"/>
              <a:gd name="connsiteY62" fmla="*/ 246965 h 918344"/>
              <a:gd name="connsiteX63" fmla="*/ 4892569 w 9517857"/>
              <a:gd name="connsiteY63" fmla="*/ 249921 h 918344"/>
              <a:gd name="connsiteX64" fmla="*/ 4896611 w 9517857"/>
              <a:gd name="connsiteY64" fmla="*/ 240436 h 918344"/>
              <a:gd name="connsiteX65" fmla="*/ 4917286 w 9517857"/>
              <a:gd name="connsiteY65" fmla="*/ 243647 h 918344"/>
              <a:gd name="connsiteX66" fmla="*/ 5060397 w 9517857"/>
              <a:gd name="connsiteY66" fmla="*/ 263676 h 918344"/>
              <a:gd name="connsiteX67" fmla="*/ 5252996 w 9517857"/>
              <a:gd name="connsiteY67" fmla="*/ 270643 h 918344"/>
              <a:gd name="connsiteX68" fmla="*/ 5358056 w 9517857"/>
              <a:gd name="connsiteY68" fmla="*/ 247236 h 918344"/>
              <a:gd name="connsiteX69" fmla="*/ 5426496 w 9517857"/>
              <a:gd name="connsiteY69" fmla="*/ 235130 h 918344"/>
              <a:gd name="connsiteX70" fmla="*/ 5497161 w 9517857"/>
              <a:gd name="connsiteY70" fmla="*/ 228796 h 918344"/>
              <a:gd name="connsiteX71" fmla="*/ 5856152 w 9517857"/>
              <a:gd name="connsiteY71" fmla="*/ 156354 h 918344"/>
              <a:gd name="connsiteX72" fmla="*/ 6014778 w 9517857"/>
              <a:gd name="connsiteY72" fmla="*/ 168326 h 918344"/>
              <a:gd name="connsiteX73" fmla="*/ 6194152 w 9517857"/>
              <a:gd name="connsiteY73" fmla="*/ 151760 h 918344"/>
              <a:gd name="connsiteX74" fmla="*/ 6281379 w 9517857"/>
              <a:gd name="connsiteY74" fmla="*/ 181614 h 918344"/>
              <a:gd name="connsiteX75" fmla="*/ 6374947 w 9517857"/>
              <a:gd name="connsiteY75" fmla="*/ 179787 h 918344"/>
              <a:gd name="connsiteX76" fmla="*/ 6448518 w 9517857"/>
              <a:gd name="connsiteY76" fmla="*/ 164366 h 918344"/>
              <a:gd name="connsiteX77" fmla="*/ 6544700 w 9517857"/>
              <a:gd name="connsiteY77" fmla="*/ 167149 h 918344"/>
              <a:gd name="connsiteX78" fmla="*/ 6648353 w 9517857"/>
              <a:gd name="connsiteY78" fmla="*/ 172238 h 918344"/>
              <a:gd name="connsiteX79" fmla="*/ 6736227 w 9517857"/>
              <a:gd name="connsiteY79" fmla="*/ 173204 h 918344"/>
              <a:gd name="connsiteX80" fmla="*/ 6977218 w 9517857"/>
              <a:gd name="connsiteY80" fmla="*/ 184277 h 918344"/>
              <a:gd name="connsiteX81" fmla="*/ 7065221 w 9517857"/>
              <a:gd name="connsiteY81" fmla="*/ 227519 h 918344"/>
              <a:gd name="connsiteX82" fmla="*/ 7366801 w 9517857"/>
              <a:gd name="connsiteY82" fmla="*/ 258938 h 918344"/>
              <a:gd name="connsiteX83" fmla="*/ 7433745 w 9517857"/>
              <a:gd name="connsiteY83" fmla="*/ 246959 h 918344"/>
              <a:gd name="connsiteX84" fmla="*/ 7644411 w 9517857"/>
              <a:gd name="connsiteY84" fmla="*/ 258974 h 918344"/>
              <a:gd name="connsiteX85" fmla="*/ 7825110 w 9517857"/>
              <a:gd name="connsiteY85" fmla="*/ 229097 h 918344"/>
              <a:gd name="connsiteX86" fmla="*/ 7965804 w 9517857"/>
              <a:gd name="connsiteY86" fmla="*/ 190533 h 918344"/>
              <a:gd name="connsiteX87" fmla="*/ 8147401 w 9517857"/>
              <a:gd name="connsiteY87" fmla="*/ 205605 h 918344"/>
              <a:gd name="connsiteX88" fmla="*/ 8256033 w 9517857"/>
              <a:gd name="connsiteY88" fmla="*/ 193701 h 918344"/>
              <a:gd name="connsiteX89" fmla="*/ 8551625 w 9517857"/>
              <a:gd name="connsiteY89" fmla="*/ 161505 h 918344"/>
              <a:gd name="connsiteX90" fmla="*/ 8715976 w 9517857"/>
              <a:gd name="connsiteY90" fmla="*/ 178362 h 918344"/>
              <a:gd name="connsiteX91" fmla="*/ 8778827 w 9517857"/>
              <a:gd name="connsiteY91" fmla="*/ 172924 h 918344"/>
              <a:gd name="connsiteX92" fmla="*/ 8840778 w 9517857"/>
              <a:gd name="connsiteY92" fmla="*/ 143137 h 918344"/>
              <a:gd name="connsiteX93" fmla="*/ 9010380 w 9517857"/>
              <a:gd name="connsiteY93" fmla="*/ 91879 h 918344"/>
              <a:gd name="connsiteX94" fmla="*/ 9110856 w 9517857"/>
              <a:gd name="connsiteY94" fmla="*/ 70985 h 918344"/>
              <a:gd name="connsiteX95" fmla="*/ 9268817 w 9517857"/>
              <a:gd name="connsiteY95" fmla="*/ 53070 h 918344"/>
              <a:gd name="connsiteX96" fmla="*/ 9316667 w 9517857"/>
              <a:gd name="connsiteY96" fmla="*/ 45035 h 918344"/>
              <a:gd name="connsiteX97" fmla="*/ 9428209 w 9517857"/>
              <a:gd name="connsiteY97" fmla="*/ 29911 h 918344"/>
              <a:gd name="connsiteX0" fmla="*/ 4686423 w 9517857"/>
              <a:gd name="connsiteY0" fmla="*/ 247907 h 918344"/>
              <a:gd name="connsiteX1" fmla="*/ 4689051 w 9517857"/>
              <a:gd name="connsiteY1" fmla="*/ 250956 h 918344"/>
              <a:gd name="connsiteX2" fmla="*/ 4687244 w 9517857"/>
              <a:gd name="connsiteY2" fmla="*/ 251286 h 918344"/>
              <a:gd name="connsiteX3" fmla="*/ 4686423 w 9517857"/>
              <a:gd name="connsiteY3" fmla="*/ 247907 h 918344"/>
              <a:gd name="connsiteX4" fmla="*/ 4685225 w 9517857"/>
              <a:gd name="connsiteY4" fmla="*/ 246518 h 918344"/>
              <a:gd name="connsiteX5" fmla="*/ 4686133 w 9517857"/>
              <a:gd name="connsiteY5" fmla="*/ 246715 h 918344"/>
              <a:gd name="connsiteX6" fmla="*/ 4686423 w 9517857"/>
              <a:gd name="connsiteY6" fmla="*/ 247907 h 918344"/>
              <a:gd name="connsiteX7" fmla="*/ 4685225 w 9517857"/>
              <a:gd name="connsiteY7" fmla="*/ 246518 h 918344"/>
              <a:gd name="connsiteX8" fmla="*/ 9428209 w 9517857"/>
              <a:gd name="connsiteY8" fmla="*/ 29911 h 918344"/>
              <a:gd name="connsiteX9" fmla="*/ 9517857 w 9517857"/>
              <a:gd name="connsiteY9" fmla="*/ 0 h 918344"/>
              <a:gd name="connsiteX10" fmla="*/ 9517857 w 9517857"/>
              <a:gd name="connsiteY10" fmla="*/ 918344 h 918344"/>
              <a:gd name="connsiteX11" fmla="*/ 14604 w 9517857"/>
              <a:gd name="connsiteY11" fmla="*/ 918344 h 918344"/>
              <a:gd name="connsiteX12" fmla="*/ 12841 w 9517857"/>
              <a:gd name="connsiteY12" fmla="*/ 917751 h 918344"/>
              <a:gd name="connsiteX13" fmla="*/ 93 w 9517857"/>
              <a:gd name="connsiteY13" fmla="*/ 912459 h 918344"/>
              <a:gd name="connsiteX14" fmla="*/ 58674 w 9517857"/>
              <a:gd name="connsiteY14" fmla="*/ 890310 h 918344"/>
              <a:gd name="connsiteX15" fmla="*/ 275005 w 9517857"/>
              <a:gd name="connsiteY15" fmla="*/ 807217 h 918344"/>
              <a:gd name="connsiteX16" fmla="*/ 587824 w 9517857"/>
              <a:gd name="connsiteY16" fmla="*/ 798183 h 918344"/>
              <a:gd name="connsiteX17" fmla="*/ 651826 w 9517857"/>
              <a:gd name="connsiteY17" fmla="*/ 738326 h 918344"/>
              <a:gd name="connsiteX18" fmla="*/ 727985 w 9517857"/>
              <a:gd name="connsiteY18" fmla="*/ 719814 h 918344"/>
              <a:gd name="connsiteX19" fmla="*/ 778982 w 9517857"/>
              <a:gd name="connsiteY19" fmla="*/ 710130 h 918344"/>
              <a:gd name="connsiteX20" fmla="*/ 849944 w 9517857"/>
              <a:gd name="connsiteY20" fmla="*/ 717975 h 918344"/>
              <a:gd name="connsiteX21" fmla="*/ 921659 w 9517857"/>
              <a:gd name="connsiteY21" fmla="*/ 712683 h 918344"/>
              <a:gd name="connsiteX22" fmla="*/ 930946 w 9517857"/>
              <a:gd name="connsiteY22" fmla="*/ 734034 h 918344"/>
              <a:gd name="connsiteX23" fmla="*/ 986250 w 9517857"/>
              <a:gd name="connsiteY23" fmla="*/ 713518 h 918344"/>
              <a:gd name="connsiteX24" fmla="*/ 1013752 w 9517857"/>
              <a:gd name="connsiteY24" fmla="*/ 713349 h 918344"/>
              <a:gd name="connsiteX25" fmla="*/ 1023734 w 9517857"/>
              <a:gd name="connsiteY25" fmla="*/ 718559 h 918344"/>
              <a:gd name="connsiteX26" fmla="*/ 1063207 w 9517857"/>
              <a:gd name="connsiteY26" fmla="*/ 715639 h 918344"/>
              <a:gd name="connsiteX27" fmla="*/ 1081980 w 9517857"/>
              <a:gd name="connsiteY27" fmla="*/ 738443 h 918344"/>
              <a:gd name="connsiteX28" fmla="*/ 1218120 w 9517857"/>
              <a:gd name="connsiteY28" fmla="*/ 713268 h 918344"/>
              <a:gd name="connsiteX29" fmla="*/ 1397459 w 9517857"/>
              <a:gd name="connsiteY29" fmla="*/ 691178 h 918344"/>
              <a:gd name="connsiteX30" fmla="*/ 1580688 w 9517857"/>
              <a:gd name="connsiteY30" fmla="*/ 693685 h 918344"/>
              <a:gd name="connsiteX31" fmla="*/ 1772334 w 9517857"/>
              <a:gd name="connsiteY31" fmla="*/ 710628 h 918344"/>
              <a:gd name="connsiteX32" fmla="*/ 2002561 w 9517857"/>
              <a:gd name="connsiteY32" fmla="*/ 659905 h 918344"/>
              <a:gd name="connsiteX33" fmla="*/ 2135144 w 9517857"/>
              <a:gd name="connsiteY33" fmla="*/ 636489 h 918344"/>
              <a:gd name="connsiteX34" fmla="*/ 2448505 w 9517857"/>
              <a:gd name="connsiteY34" fmla="*/ 578838 h 918344"/>
              <a:gd name="connsiteX35" fmla="*/ 2658055 w 9517857"/>
              <a:gd name="connsiteY35" fmla="*/ 578715 h 918344"/>
              <a:gd name="connsiteX36" fmla="*/ 2693698 w 9517857"/>
              <a:gd name="connsiteY36" fmla="*/ 560017 h 918344"/>
              <a:gd name="connsiteX37" fmla="*/ 2699673 w 9517857"/>
              <a:gd name="connsiteY37" fmla="*/ 556388 h 918344"/>
              <a:gd name="connsiteX38" fmla="*/ 2727306 w 9517857"/>
              <a:gd name="connsiteY38" fmla="*/ 550686 h 918344"/>
              <a:gd name="connsiteX39" fmla="*/ 2730451 w 9517857"/>
              <a:gd name="connsiteY39" fmla="*/ 538046 h 918344"/>
              <a:gd name="connsiteX40" fmla="*/ 2768713 w 9517857"/>
              <a:gd name="connsiteY40" fmla="*/ 521563 h 918344"/>
              <a:gd name="connsiteX41" fmla="*/ 2820868 w 9517857"/>
              <a:gd name="connsiteY41" fmla="*/ 514148 h 918344"/>
              <a:gd name="connsiteX42" fmla="*/ 3073635 w 9517857"/>
              <a:gd name="connsiteY42" fmla="*/ 491282 h 918344"/>
              <a:gd name="connsiteX43" fmla="*/ 3222071 w 9517857"/>
              <a:gd name="connsiteY43" fmla="*/ 470547 h 918344"/>
              <a:gd name="connsiteX44" fmla="*/ 3274069 w 9517857"/>
              <a:gd name="connsiteY44" fmla="*/ 451593 h 918344"/>
              <a:gd name="connsiteX45" fmla="*/ 3349632 w 9517857"/>
              <a:gd name="connsiteY45" fmla="*/ 432571 h 918344"/>
              <a:gd name="connsiteX46" fmla="*/ 3479593 w 9517857"/>
              <a:gd name="connsiteY46" fmla="*/ 390425 h 918344"/>
              <a:gd name="connsiteX47" fmla="*/ 3750023 w 9517857"/>
              <a:gd name="connsiteY47" fmla="*/ 370666 h 918344"/>
              <a:gd name="connsiteX48" fmla="*/ 3844133 w 9517857"/>
              <a:gd name="connsiteY48" fmla="*/ 360636 h 918344"/>
              <a:gd name="connsiteX49" fmla="*/ 3913545 w 9517857"/>
              <a:gd name="connsiteY49" fmla="*/ 344223 h 918344"/>
              <a:gd name="connsiteX50" fmla="*/ 4266740 w 9517857"/>
              <a:gd name="connsiteY50" fmla="*/ 361442 h 918344"/>
              <a:gd name="connsiteX51" fmla="*/ 4430770 w 9517857"/>
              <a:gd name="connsiteY51" fmla="*/ 342631 h 918344"/>
              <a:gd name="connsiteX52" fmla="*/ 4512664 w 9517857"/>
              <a:gd name="connsiteY52" fmla="*/ 319936 h 918344"/>
              <a:gd name="connsiteX53" fmla="*/ 4616423 w 9517857"/>
              <a:gd name="connsiteY53" fmla="*/ 290902 h 918344"/>
              <a:gd name="connsiteX54" fmla="*/ 4691675 w 9517857"/>
              <a:gd name="connsiteY54" fmla="*/ 253999 h 918344"/>
              <a:gd name="connsiteX55" fmla="*/ 4689051 w 9517857"/>
              <a:gd name="connsiteY55" fmla="*/ 250956 h 918344"/>
              <a:gd name="connsiteX56" fmla="*/ 4719994 w 9517857"/>
              <a:gd name="connsiteY56" fmla="*/ 245295 h 918344"/>
              <a:gd name="connsiteX57" fmla="*/ 4752894 w 9517857"/>
              <a:gd name="connsiteY57" fmla="*/ 239863 h 918344"/>
              <a:gd name="connsiteX58" fmla="*/ 4769329 w 9517857"/>
              <a:gd name="connsiteY58" fmla="*/ 233573 h 918344"/>
              <a:gd name="connsiteX59" fmla="*/ 4775634 w 9517857"/>
              <a:gd name="connsiteY59" fmla="*/ 234051 h 918344"/>
              <a:gd name="connsiteX60" fmla="*/ 4790452 w 9517857"/>
              <a:gd name="connsiteY60" fmla="*/ 233560 h 918344"/>
              <a:gd name="connsiteX61" fmla="*/ 4789062 w 9517857"/>
              <a:gd name="connsiteY61" fmla="*/ 241912 h 918344"/>
              <a:gd name="connsiteX62" fmla="*/ 4827826 w 9517857"/>
              <a:gd name="connsiteY62" fmla="*/ 246965 h 918344"/>
              <a:gd name="connsiteX63" fmla="*/ 4892569 w 9517857"/>
              <a:gd name="connsiteY63" fmla="*/ 249921 h 918344"/>
              <a:gd name="connsiteX64" fmla="*/ 4896611 w 9517857"/>
              <a:gd name="connsiteY64" fmla="*/ 240436 h 918344"/>
              <a:gd name="connsiteX65" fmla="*/ 4917286 w 9517857"/>
              <a:gd name="connsiteY65" fmla="*/ 243647 h 918344"/>
              <a:gd name="connsiteX66" fmla="*/ 5060397 w 9517857"/>
              <a:gd name="connsiteY66" fmla="*/ 263676 h 918344"/>
              <a:gd name="connsiteX67" fmla="*/ 5252996 w 9517857"/>
              <a:gd name="connsiteY67" fmla="*/ 270643 h 918344"/>
              <a:gd name="connsiteX68" fmla="*/ 5358056 w 9517857"/>
              <a:gd name="connsiteY68" fmla="*/ 247236 h 918344"/>
              <a:gd name="connsiteX69" fmla="*/ 5426496 w 9517857"/>
              <a:gd name="connsiteY69" fmla="*/ 235130 h 918344"/>
              <a:gd name="connsiteX70" fmla="*/ 5497161 w 9517857"/>
              <a:gd name="connsiteY70" fmla="*/ 228796 h 918344"/>
              <a:gd name="connsiteX71" fmla="*/ 5856152 w 9517857"/>
              <a:gd name="connsiteY71" fmla="*/ 156354 h 918344"/>
              <a:gd name="connsiteX72" fmla="*/ 6014778 w 9517857"/>
              <a:gd name="connsiteY72" fmla="*/ 168326 h 918344"/>
              <a:gd name="connsiteX73" fmla="*/ 6194152 w 9517857"/>
              <a:gd name="connsiteY73" fmla="*/ 151760 h 918344"/>
              <a:gd name="connsiteX74" fmla="*/ 6281379 w 9517857"/>
              <a:gd name="connsiteY74" fmla="*/ 181614 h 918344"/>
              <a:gd name="connsiteX75" fmla="*/ 6374947 w 9517857"/>
              <a:gd name="connsiteY75" fmla="*/ 179787 h 918344"/>
              <a:gd name="connsiteX76" fmla="*/ 6448518 w 9517857"/>
              <a:gd name="connsiteY76" fmla="*/ 164366 h 918344"/>
              <a:gd name="connsiteX77" fmla="*/ 6544700 w 9517857"/>
              <a:gd name="connsiteY77" fmla="*/ 167149 h 918344"/>
              <a:gd name="connsiteX78" fmla="*/ 6648353 w 9517857"/>
              <a:gd name="connsiteY78" fmla="*/ 172238 h 918344"/>
              <a:gd name="connsiteX79" fmla="*/ 6736227 w 9517857"/>
              <a:gd name="connsiteY79" fmla="*/ 173204 h 918344"/>
              <a:gd name="connsiteX80" fmla="*/ 6977218 w 9517857"/>
              <a:gd name="connsiteY80" fmla="*/ 184277 h 918344"/>
              <a:gd name="connsiteX81" fmla="*/ 7065221 w 9517857"/>
              <a:gd name="connsiteY81" fmla="*/ 227519 h 918344"/>
              <a:gd name="connsiteX82" fmla="*/ 7366801 w 9517857"/>
              <a:gd name="connsiteY82" fmla="*/ 258938 h 918344"/>
              <a:gd name="connsiteX83" fmla="*/ 7433745 w 9517857"/>
              <a:gd name="connsiteY83" fmla="*/ 246959 h 918344"/>
              <a:gd name="connsiteX84" fmla="*/ 7644411 w 9517857"/>
              <a:gd name="connsiteY84" fmla="*/ 258974 h 918344"/>
              <a:gd name="connsiteX85" fmla="*/ 7825110 w 9517857"/>
              <a:gd name="connsiteY85" fmla="*/ 229097 h 918344"/>
              <a:gd name="connsiteX86" fmla="*/ 7965804 w 9517857"/>
              <a:gd name="connsiteY86" fmla="*/ 190533 h 918344"/>
              <a:gd name="connsiteX87" fmla="*/ 8147401 w 9517857"/>
              <a:gd name="connsiteY87" fmla="*/ 205605 h 918344"/>
              <a:gd name="connsiteX88" fmla="*/ 8256033 w 9517857"/>
              <a:gd name="connsiteY88" fmla="*/ 193701 h 918344"/>
              <a:gd name="connsiteX89" fmla="*/ 8551625 w 9517857"/>
              <a:gd name="connsiteY89" fmla="*/ 161505 h 918344"/>
              <a:gd name="connsiteX90" fmla="*/ 8715976 w 9517857"/>
              <a:gd name="connsiteY90" fmla="*/ 178362 h 918344"/>
              <a:gd name="connsiteX91" fmla="*/ 8778827 w 9517857"/>
              <a:gd name="connsiteY91" fmla="*/ 172924 h 918344"/>
              <a:gd name="connsiteX92" fmla="*/ 8840778 w 9517857"/>
              <a:gd name="connsiteY92" fmla="*/ 143137 h 918344"/>
              <a:gd name="connsiteX93" fmla="*/ 9010380 w 9517857"/>
              <a:gd name="connsiteY93" fmla="*/ 91879 h 918344"/>
              <a:gd name="connsiteX94" fmla="*/ 9110856 w 9517857"/>
              <a:gd name="connsiteY94" fmla="*/ 70985 h 918344"/>
              <a:gd name="connsiteX95" fmla="*/ 9268817 w 9517857"/>
              <a:gd name="connsiteY95" fmla="*/ 53070 h 918344"/>
              <a:gd name="connsiteX96" fmla="*/ 9316667 w 9517857"/>
              <a:gd name="connsiteY96" fmla="*/ 45035 h 918344"/>
              <a:gd name="connsiteX97" fmla="*/ 9428209 w 9517857"/>
              <a:gd name="connsiteY97" fmla="*/ 29911 h 918344"/>
              <a:gd name="connsiteX0" fmla="*/ 4686423 w 9517857"/>
              <a:gd name="connsiteY0" fmla="*/ 247907 h 918344"/>
              <a:gd name="connsiteX1" fmla="*/ 4689051 w 9517857"/>
              <a:gd name="connsiteY1" fmla="*/ 250956 h 918344"/>
              <a:gd name="connsiteX2" fmla="*/ 4687244 w 9517857"/>
              <a:gd name="connsiteY2" fmla="*/ 251286 h 918344"/>
              <a:gd name="connsiteX3" fmla="*/ 4686423 w 9517857"/>
              <a:gd name="connsiteY3" fmla="*/ 247907 h 918344"/>
              <a:gd name="connsiteX4" fmla="*/ 4685225 w 9517857"/>
              <a:gd name="connsiteY4" fmla="*/ 246518 h 918344"/>
              <a:gd name="connsiteX5" fmla="*/ 4686133 w 9517857"/>
              <a:gd name="connsiteY5" fmla="*/ 246715 h 918344"/>
              <a:gd name="connsiteX6" fmla="*/ 4686423 w 9517857"/>
              <a:gd name="connsiteY6" fmla="*/ 247907 h 918344"/>
              <a:gd name="connsiteX7" fmla="*/ 4685225 w 9517857"/>
              <a:gd name="connsiteY7" fmla="*/ 246518 h 918344"/>
              <a:gd name="connsiteX8" fmla="*/ 9428209 w 9517857"/>
              <a:gd name="connsiteY8" fmla="*/ 29911 h 918344"/>
              <a:gd name="connsiteX9" fmla="*/ 9517857 w 9517857"/>
              <a:gd name="connsiteY9" fmla="*/ 0 h 918344"/>
              <a:gd name="connsiteX10" fmla="*/ 9517857 w 9517857"/>
              <a:gd name="connsiteY10" fmla="*/ 918344 h 918344"/>
              <a:gd name="connsiteX11" fmla="*/ 14604 w 9517857"/>
              <a:gd name="connsiteY11" fmla="*/ 918344 h 918344"/>
              <a:gd name="connsiteX12" fmla="*/ 12841 w 9517857"/>
              <a:gd name="connsiteY12" fmla="*/ 917751 h 918344"/>
              <a:gd name="connsiteX13" fmla="*/ 93 w 9517857"/>
              <a:gd name="connsiteY13" fmla="*/ 912459 h 918344"/>
              <a:gd name="connsiteX14" fmla="*/ 58674 w 9517857"/>
              <a:gd name="connsiteY14" fmla="*/ 890310 h 918344"/>
              <a:gd name="connsiteX15" fmla="*/ 275005 w 9517857"/>
              <a:gd name="connsiteY15" fmla="*/ 807217 h 918344"/>
              <a:gd name="connsiteX16" fmla="*/ 587824 w 9517857"/>
              <a:gd name="connsiteY16" fmla="*/ 798183 h 918344"/>
              <a:gd name="connsiteX17" fmla="*/ 651826 w 9517857"/>
              <a:gd name="connsiteY17" fmla="*/ 738326 h 918344"/>
              <a:gd name="connsiteX18" fmla="*/ 727985 w 9517857"/>
              <a:gd name="connsiteY18" fmla="*/ 719814 h 918344"/>
              <a:gd name="connsiteX19" fmla="*/ 778982 w 9517857"/>
              <a:gd name="connsiteY19" fmla="*/ 710130 h 918344"/>
              <a:gd name="connsiteX20" fmla="*/ 849944 w 9517857"/>
              <a:gd name="connsiteY20" fmla="*/ 717975 h 918344"/>
              <a:gd name="connsiteX21" fmla="*/ 921659 w 9517857"/>
              <a:gd name="connsiteY21" fmla="*/ 712683 h 918344"/>
              <a:gd name="connsiteX22" fmla="*/ 930946 w 9517857"/>
              <a:gd name="connsiteY22" fmla="*/ 734034 h 918344"/>
              <a:gd name="connsiteX23" fmla="*/ 986250 w 9517857"/>
              <a:gd name="connsiteY23" fmla="*/ 713518 h 918344"/>
              <a:gd name="connsiteX24" fmla="*/ 1013752 w 9517857"/>
              <a:gd name="connsiteY24" fmla="*/ 713349 h 918344"/>
              <a:gd name="connsiteX25" fmla="*/ 1023734 w 9517857"/>
              <a:gd name="connsiteY25" fmla="*/ 718559 h 918344"/>
              <a:gd name="connsiteX26" fmla="*/ 1063207 w 9517857"/>
              <a:gd name="connsiteY26" fmla="*/ 715639 h 918344"/>
              <a:gd name="connsiteX27" fmla="*/ 1081980 w 9517857"/>
              <a:gd name="connsiteY27" fmla="*/ 738443 h 918344"/>
              <a:gd name="connsiteX28" fmla="*/ 1218120 w 9517857"/>
              <a:gd name="connsiteY28" fmla="*/ 713268 h 918344"/>
              <a:gd name="connsiteX29" fmla="*/ 1397459 w 9517857"/>
              <a:gd name="connsiteY29" fmla="*/ 691178 h 918344"/>
              <a:gd name="connsiteX30" fmla="*/ 1580688 w 9517857"/>
              <a:gd name="connsiteY30" fmla="*/ 693685 h 918344"/>
              <a:gd name="connsiteX31" fmla="*/ 1772334 w 9517857"/>
              <a:gd name="connsiteY31" fmla="*/ 710628 h 918344"/>
              <a:gd name="connsiteX32" fmla="*/ 2002561 w 9517857"/>
              <a:gd name="connsiteY32" fmla="*/ 659905 h 918344"/>
              <a:gd name="connsiteX33" fmla="*/ 2135144 w 9517857"/>
              <a:gd name="connsiteY33" fmla="*/ 636489 h 918344"/>
              <a:gd name="connsiteX34" fmla="*/ 2448505 w 9517857"/>
              <a:gd name="connsiteY34" fmla="*/ 578838 h 918344"/>
              <a:gd name="connsiteX35" fmla="*/ 2658055 w 9517857"/>
              <a:gd name="connsiteY35" fmla="*/ 578715 h 918344"/>
              <a:gd name="connsiteX36" fmla="*/ 2693698 w 9517857"/>
              <a:gd name="connsiteY36" fmla="*/ 560017 h 918344"/>
              <a:gd name="connsiteX37" fmla="*/ 2699673 w 9517857"/>
              <a:gd name="connsiteY37" fmla="*/ 556388 h 918344"/>
              <a:gd name="connsiteX38" fmla="*/ 2727306 w 9517857"/>
              <a:gd name="connsiteY38" fmla="*/ 550686 h 918344"/>
              <a:gd name="connsiteX39" fmla="*/ 2730451 w 9517857"/>
              <a:gd name="connsiteY39" fmla="*/ 538046 h 918344"/>
              <a:gd name="connsiteX40" fmla="*/ 2768713 w 9517857"/>
              <a:gd name="connsiteY40" fmla="*/ 521563 h 918344"/>
              <a:gd name="connsiteX41" fmla="*/ 2820868 w 9517857"/>
              <a:gd name="connsiteY41" fmla="*/ 514148 h 918344"/>
              <a:gd name="connsiteX42" fmla="*/ 3073635 w 9517857"/>
              <a:gd name="connsiteY42" fmla="*/ 491282 h 918344"/>
              <a:gd name="connsiteX43" fmla="*/ 3222071 w 9517857"/>
              <a:gd name="connsiteY43" fmla="*/ 470547 h 918344"/>
              <a:gd name="connsiteX44" fmla="*/ 3274069 w 9517857"/>
              <a:gd name="connsiteY44" fmla="*/ 451593 h 918344"/>
              <a:gd name="connsiteX45" fmla="*/ 3349632 w 9517857"/>
              <a:gd name="connsiteY45" fmla="*/ 432571 h 918344"/>
              <a:gd name="connsiteX46" fmla="*/ 3479593 w 9517857"/>
              <a:gd name="connsiteY46" fmla="*/ 390425 h 918344"/>
              <a:gd name="connsiteX47" fmla="*/ 3750023 w 9517857"/>
              <a:gd name="connsiteY47" fmla="*/ 370666 h 918344"/>
              <a:gd name="connsiteX48" fmla="*/ 3844133 w 9517857"/>
              <a:gd name="connsiteY48" fmla="*/ 360636 h 918344"/>
              <a:gd name="connsiteX49" fmla="*/ 3979762 w 9517857"/>
              <a:gd name="connsiteY49" fmla="*/ 350573 h 918344"/>
              <a:gd name="connsiteX50" fmla="*/ 4266740 w 9517857"/>
              <a:gd name="connsiteY50" fmla="*/ 361442 h 918344"/>
              <a:gd name="connsiteX51" fmla="*/ 4430770 w 9517857"/>
              <a:gd name="connsiteY51" fmla="*/ 342631 h 918344"/>
              <a:gd name="connsiteX52" fmla="*/ 4512664 w 9517857"/>
              <a:gd name="connsiteY52" fmla="*/ 319936 h 918344"/>
              <a:gd name="connsiteX53" fmla="*/ 4616423 w 9517857"/>
              <a:gd name="connsiteY53" fmla="*/ 290902 h 918344"/>
              <a:gd name="connsiteX54" fmla="*/ 4691675 w 9517857"/>
              <a:gd name="connsiteY54" fmla="*/ 253999 h 918344"/>
              <a:gd name="connsiteX55" fmla="*/ 4689051 w 9517857"/>
              <a:gd name="connsiteY55" fmla="*/ 250956 h 918344"/>
              <a:gd name="connsiteX56" fmla="*/ 4719994 w 9517857"/>
              <a:gd name="connsiteY56" fmla="*/ 245295 h 918344"/>
              <a:gd name="connsiteX57" fmla="*/ 4752894 w 9517857"/>
              <a:gd name="connsiteY57" fmla="*/ 239863 h 918344"/>
              <a:gd name="connsiteX58" fmla="*/ 4769329 w 9517857"/>
              <a:gd name="connsiteY58" fmla="*/ 233573 h 918344"/>
              <a:gd name="connsiteX59" fmla="*/ 4775634 w 9517857"/>
              <a:gd name="connsiteY59" fmla="*/ 234051 h 918344"/>
              <a:gd name="connsiteX60" fmla="*/ 4790452 w 9517857"/>
              <a:gd name="connsiteY60" fmla="*/ 233560 h 918344"/>
              <a:gd name="connsiteX61" fmla="*/ 4789062 w 9517857"/>
              <a:gd name="connsiteY61" fmla="*/ 241912 h 918344"/>
              <a:gd name="connsiteX62" fmla="*/ 4827826 w 9517857"/>
              <a:gd name="connsiteY62" fmla="*/ 246965 h 918344"/>
              <a:gd name="connsiteX63" fmla="*/ 4892569 w 9517857"/>
              <a:gd name="connsiteY63" fmla="*/ 249921 h 918344"/>
              <a:gd name="connsiteX64" fmla="*/ 4896611 w 9517857"/>
              <a:gd name="connsiteY64" fmla="*/ 240436 h 918344"/>
              <a:gd name="connsiteX65" fmla="*/ 4917286 w 9517857"/>
              <a:gd name="connsiteY65" fmla="*/ 243647 h 918344"/>
              <a:gd name="connsiteX66" fmla="*/ 5060397 w 9517857"/>
              <a:gd name="connsiteY66" fmla="*/ 263676 h 918344"/>
              <a:gd name="connsiteX67" fmla="*/ 5252996 w 9517857"/>
              <a:gd name="connsiteY67" fmla="*/ 270643 h 918344"/>
              <a:gd name="connsiteX68" fmla="*/ 5358056 w 9517857"/>
              <a:gd name="connsiteY68" fmla="*/ 247236 h 918344"/>
              <a:gd name="connsiteX69" fmla="*/ 5426496 w 9517857"/>
              <a:gd name="connsiteY69" fmla="*/ 235130 h 918344"/>
              <a:gd name="connsiteX70" fmla="*/ 5497161 w 9517857"/>
              <a:gd name="connsiteY70" fmla="*/ 228796 h 918344"/>
              <a:gd name="connsiteX71" fmla="*/ 5856152 w 9517857"/>
              <a:gd name="connsiteY71" fmla="*/ 156354 h 918344"/>
              <a:gd name="connsiteX72" fmla="*/ 6014778 w 9517857"/>
              <a:gd name="connsiteY72" fmla="*/ 168326 h 918344"/>
              <a:gd name="connsiteX73" fmla="*/ 6194152 w 9517857"/>
              <a:gd name="connsiteY73" fmla="*/ 151760 h 918344"/>
              <a:gd name="connsiteX74" fmla="*/ 6281379 w 9517857"/>
              <a:gd name="connsiteY74" fmla="*/ 181614 h 918344"/>
              <a:gd name="connsiteX75" fmla="*/ 6374947 w 9517857"/>
              <a:gd name="connsiteY75" fmla="*/ 179787 h 918344"/>
              <a:gd name="connsiteX76" fmla="*/ 6448518 w 9517857"/>
              <a:gd name="connsiteY76" fmla="*/ 164366 h 918344"/>
              <a:gd name="connsiteX77" fmla="*/ 6544700 w 9517857"/>
              <a:gd name="connsiteY77" fmla="*/ 167149 h 918344"/>
              <a:gd name="connsiteX78" fmla="*/ 6648353 w 9517857"/>
              <a:gd name="connsiteY78" fmla="*/ 172238 h 918344"/>
              <a:gd name="connsiteX79" fmla="*/ 6736227 w 9517857"/>
              <a:gd name="connsiteY79" fmla="*/ 173204 h 918344"/>
              <a:gd name="connsiteX80" fmla="*/ 6977218 w 9517857"/>
              <a:gd name="connsiteY80" fmla="*/ 184277 h 918344"/>
              <a:gd name="connsiteX81" fmla="*/ 7065221 w 9517857"/>
              <a:gd name="connsiteY81" fmla="*/ 227519 h 918344"/>
              <a:gd name="connsiteX82" fmla="*/ 7366801 w 9517857"/>
              <a:gd name="connsiteY82" fmla="*/ 258938 h 918344"/>
              <a:gd name="connsiteX83" fmla="*/ 7433745 w 9517857"/>
              <a:gd name="connsiteY83" fmla="*/ 246959 h 918344"/>
              <a:gd name="connsiteX84" fmla="*/ 7644411 w 9517857"/>
              <a:gd name="connsiteY84" fmla="*/ 258974 h 918344"/>
              <a:gd name="connsiteX85" fmla="*/ 7825110 w 9517857"/>
              <a:gd name="connsiteY85" fmla="*/ 229097 h 918344"/>
              <a:gd name="connsiteX86" fmla="*/ 7965804 w 9517857"/>
              <a:gd name="connsiteY86" fmla="*/ 190533 h 918344"/>
              <a:gd name="connsiteX87" fmla="*/ 8147401 w 9517857"/>
              <a:gd name="connsiteY87" fmla="*/ 205605 h 918344"/>
              <a:gd name="connsiteX88" fmla="*/ 8256033 w 9517857"/>
              <a:gd name="connsiteY88" fmla="*/ 193701 h 918344"/>
              <a:gd name="connsiteX89" fmla="*/ 8551625 w 9517857"/>
              <a:gd name="connsiteY89" fmla="*/ 161505 h 918344"/>
              <a:gd name="connsiteX90" fmla="*/ 8715976 w 9517857"/>
              <a:gd name="connsiteY90" fmla="*/ 178362 h 918344"/>
              <a:gd name="connsiteX91" fmla="*/ 8778827 w 9517857"/>
              <a:gd name="connsiteY91" fmla="*/ 172924 h 918344"/>
              <a:gd name="connsiteX92" fmla="*/ 8840778 w 9517857"/>
              <a:gd name="connsiteY92" fmla="*/ 143137 h 918344"/>
              <a:gd name="connsiteX93" fmla="*/ 9010380 w 9517857"/>
              <a:gd name="connsiteY93" fmla="*/ 91879 h 918344"/>
              <a:gd name="connsiteX94" fmla="*/ 9110856 w 9517857"/>
              <a:gd name="connsiteY94" fmla="*/ 70985 h 918344"/>
              <a:gd name="connsiteX95" fmla="*/ 9268817 w 9517857"/>
              <a:gd name="connsiteY95" fmla="*/ 53070 h 918344"/>
              <a:gd name="connsiteX96" fmla="*/ 9316667 w 9517857"/>
              <a:gd name="connsiteY96" fmla="*/ 45035 h 918344"/>
              <a:gd name="connsiteX97" fmla="*/ 9428209 w 9517857"/>
              <a:gd name="connsiteY97" fmla="*/ 29911 h 918344"/>
              <a:gd name="connsiteX0" fmla="*/ 4686423 w 9517857"/>
              <a:gd name="connsiteY0" fmla="*/ 247907 h 918344"/>
              <a:gd name="connsiteX1" fmla="*/ 4689051 w 9517857"/>
              <a:gd name="connsiteY1" fmla="*/ 250956 h 918344"/>
              <a:gd name="connsiteX2" fmla="*/ 4687244 w 9517857"/>
              <a:gd name="connsiteY2" fmla="*/ 251286 h 918344"/>
              <a:gd name="connsiteX3" fmla="*/ 4686423 w 9517857"/>
              <a:gd name="connsiteY3" fmla="*/ 247907 h 918344"/>
              <a:gd name="connsiteX4" fmla="*/ 4685225 w 9517857"/>
              <a:gd name="connsiteY4" fmla="*/ 246518 h 918344"/>
              <a:gd name="connsiteX5" fmla="*/ 4686133 w 9517857"/>
              <a:gd name="connsiteY5" fmla="*/ 246715 h 918344"/>
              <a:gd name="connsiteX6" fmla="*/ 4686423 w 9517857"/>
              <a:gd name="connsiteY6" fmla="*/ 247907 h 918344"/>
              <a:gd name="connsiteX7" fmla="*/ 4685225 w 9517857"/>
              <a:gd name="connsiteY7" fmla="*/ 246518 h 918344"/>
              <a:gd name="connsiteX8" fmla="*/ 9428209 w 9517857"/>
              <a:gd name="connsiteY8" fmla="*/ 29911 h 918344"/>
              <a:gd name="connsiteX9" fmla="*/ 9517857 w 9517857"/>
              <a:gd name="connsiteY9" fmla="*/ 0 h 918344"/>
              <a:gd name="connsiteX10" fmla="*/ 9517857 w 9517857"/>
              <a:gd name="connsiteY10" fmla="*/ 918344 h 918344"/>
              <a:gd name="connsiteX11" fmla="*/ 14604 w 9517857"/>
              <a:gd name="connsiteY11" fmla="*/ 918344 h 918344"/>
              <a:gd name="connsiteX12" fmla="*/ 12841 w 9517857"/>
              <a:gd name="connsiteY12" fmla="*/ 917751 h 918344"/>
              <a:gd name="connsiteX13" fmla="*/ 93 w 9517857"/>
              <a:gd name="connsiteY13" fmla="*/ 912459 h 918344"/>
              <a:gd name="connsiteX14" fmla="*/ 58674 w 9517857"/>
              <a:gd name="connsiteY14" fmla="*/ 890310 h 918344"/>
              <a:gd name="connsiteX15" fmla="*/ 275005 w 9517857"/>
              <a:gd name="connsiteY15" fmla="*/ 807217 h 918344"/>
              <a:gd name="connsiteX16" fmla="*/ 587824 w 9517857"/>
              <a:gd name="connsiteY16" fmla="*/ 798183 h 918344"/>
              <a:gd name="connsiteX17" fmla="*/ 651826 w 9517857"/>
              <a:gd name="connsiteY17" fmla="*/ 738326 h 918344"/>
              <a:gd name="connsiteX18" fmla="*/ 727985 w 9517857"/>
              <a:gd name="connsiteY18" fmla="*/ 719814 h 918344"/>
              <a:gd name="connsiteX19" fmla="*/ 778982 w 9517857"/>
              <a:gd name="connsiteY19" fmla="*/ 710130 h 918344"/>
              <a:gd name="connsiteX20" fmla="*/ 849944 w 9517857"/>
              <a:gd name="connsiteY20" fmla="*/ 717975 h 918344"/>
              <a:gd name="connsiteX21" fmla="*/ 921659 w 9517857"/>
              <a:gd name="connsiteY21" fmla="*/ 712683 h 918344"/>
              <a:gd name="connsiteX22" fmla="*/ 930946 w 9517857"/>
              <a:gd name="connsiteY22" fmla="*/ 734034 h 918344"/>
              <a:gd name="connsiteX23" fmla="*/ 986250 w 9517857"/>
              <a:gd name="connsiteY23" fmla="*/ 713518 h 918344"/>
              <a:gd name="connsiteX24" fmla="*/ 1013752 w 9517857"/>
              <a:gd name="connsiteY24" fmla="*/ 713349 h 918344"/>
              <a:gd name="connsiteX25" fmla="*/ 1023734 w 9517857"/>
              <a:gd name="connsiteY25" fmla="*/ 718559 h 918344"/>
              <a:gd name="connsiteX26" fmla="*/ 1063207 w 9517857"/>
              <a:gd name="connsiteY26" fmla="*/ 715639 h 918344"/>
              <a:gd name="connsiteX27" fmla="*/ 1081980 w 9517857"/>
              <a:gd name="connsiteY27" fmla="*/ 738443 h 918344"/>
              <a:gd name="connsiteX28" fmla="*/ 1218120 w 9517857"/>
              <a:gd name="connsiteY28" fmla="*/ 713268 h 918344"/>
              <a:gd name="connsiteX29" fmla="*/ 1397459 w 9517857"/>
              <a:gd name="connsiteY29" fmla="*/ 691178 h 918344"/>
              <a:gd name="connsiteX30" fmla="*/ 1580688 w 9517857"/>
              <a:gd name="connsiteY30" fmla="*/ 693685 h 918344"/>
              <a:gd name="connsiteX31" fmla="*/ 1772334 w 9517857"/>
              <a:gd name="connsiteY31" fmla="*/ 710628 h 918344"/>
              <a:gd name="connsiteX32" fmla="*/ 2002561 w 9517857"/>
              <a:gd name="connsiteY32" fmla="*/ 659905 h 918344"/>
              <a:gd name="connsiteX33" fmla="*/ 2135144 w 9517857"/>
              <a:gd name="connsiteY33" fmla="*/ 636489 h 918344"/>
              <a:gd name="connsiteX34" fmla="*/ 2448505 w 9517857"/>
              <a:gd name="connsiteY34" fmla="*/ 578838 h 918344"/>
              <a:gd name="connsiteX35" fmla="*/ 2658055 w 9517857"/>
              <a:gd name="connsiteY35" fmla="*/ 578715 h 918344"/>
              <a:gd name="connsiteX36" fmla="*/ 2693698 w 9517857"/>
              <a:gd name="connsiteY36" fmla="*/ 560017 h 918344"/>
              <a:gd name="connsiteX37" fmla="*/ 2699673 w 9517857"/>
              <a:gd name="connsiteY37" fmla="*/ 556388 h 918344"/>
              <a:gd name="connsiteX38" fmla="*/ 2727306 w 9517857"/>
              <a:gd name="connsiteY38" fmla="*/ 550686 h 918344"/>
              <a:gd name="connsiteX39" fmla="*/ 2730451 w 9517857"/>
              <a:gd name="connsiteY39" fmla="*/ 538046 h 918344"/>
              <a:gd name="connsiteX40" fmla="*/ 2768713 w 9517857"/>
              <a:gd name="connsiteY40" fmla="*/ 521563 h 918344"/>
              <a:gd name="connsiteX41" fmla="*/ 2820868 w 9517857"/>
              <a:gd name="connsiteY41" fmla="*/ 514148 h 918344"/>
              <a:gd name="connsiteX42" fmla="*/ 3073635 w 9517857"/>
              <a:gd name="connsiteY42" fmla="*/ 491282 h 918344"/>
              <a:gd name="connsiteX43" fmla="*/ 3222071 w 9517857"/>
              <a:gd name="connsiteY43" fmla="*/ 470547 h 918344"/>
              <a:gd name="connsiteX44" fmla="*/ 3274069 w 9517857"/>
              <a:gd name="connsiteY44" fmla="*/ 451593 h 918344"/>
              <a:gd name="connsiteX45" fmla="*/ 3349632 w 9517857"/>
              <a:gd name="connsiteY45" fmla="*/ 432571 h 918344"/>
              <a:gd name="connsiteX46" fmla="*/ 3479593 w 9517857"/>
              <a:gd name="connsiteY46" fmla="*/ 390425 h 918344"/>
              <a:gd name="connsiteX47" fmla="*/ 3750023 w 9517857"/>
              <a:gd name="connsiteY47" fmla="*/ 370666 h 918344"/>
              <a:gd name="connsiteX48" fmla="*/ 3844133 w 9517857"/>
              <a:gd name="connsiteY48" fmla="*/ 360636 h 918344"/>
              <a:gd name="connsiteX49" fmla="*/ 3979762 w 9517857"/>
              <a:gd name="connsiteY49" fmla="*/ 350573 h 918344"/>
              <a:gd name="connsiteX50" fmla="*/ 4266740 w 9517857"/>
              <a:gd name="connsiteY50" fmla="*/ 361442 h 918344"/>
              <a:gd name="connsiteX51" fmla="*/ 4430770 w 9517857"/>
              <a:gd name="connsiteY51" fmla="*/ 342631 h 918344"/>
              <a:gd name="connsiteX52" fmla="*/ 4512664 w 9517857"/>
              <a:gd name="connsiteY52" fmla="*/ 319936 h 918344"/>
              <a:gd name="connsiteX53" fmla="*/ 4616423 w 9517857"/>
              <a:gd name="connsiteY53" fmla="*/ 290902 h 918344"/>
              <a:gd name="connsiteX54" fmla="*/ 4691675 w 9517857"/>
              <a:gd name="connsiteY54" fmla="*/ 253999 h 918344"/>
              <a:gd name="connsiteX55" fmla="*/ 4689051 w 9517857"/>
              <a:gd name="connsiteY55" fmla="*/ 250956 h 918344"/>
              <a:gd name="connsiteX56" fmla="*/ 4719994 w 9517857"/>
              <a:gd name="connsiteY56" fmla="*/ 245295 h 918344"/>
              <a:gd name="connsiteX57" fmla="*/ 4752894 w 9517857"/>
              <a:gd name="connsiteY57" fmla="*/ 239863 h 918344"/>
              <a:gd name="connsiteX58" fmla="*/ 4769329 w 9517857"/>
              <a:gd name="connsiteY58" fmla="*/ 233573 h 918344"/>
              <a:gd name="connsiteX59" fmla="*/ 4775634 w 9517857"/>
              <a:gd name="connsiteY59" fmla="*/ 234051 h 918344"/>
              <a:gd name="connsiteX60" fmla="*/ 4790452 w 9517857"/>
              <a:gd name="connsiteY60" fmla="*/ 233560 h 918344"/>
              <a:gd name="connsiteX61" fmla="*/ 4789062 w 9517857"/>
              <a:gd name="connsiteY61" fmla="*/ 241912 h 918344"/>
              <a:gd name="connsiteX62" fmla="*/ 4827826 w 9517857"/>
              <a:gd name="connsiteY62" fmla="*/ 246965 h 918344"/>
              <a:gd name="connsiteX63" fmla="*/ 4892569 w 9517857"/>
              <a:gd name="connsiteY63" fmla="*/ 249921 h 918344"/>
              <a:gd name="connsiteX64" fmla="*/ 4896611 w 9517857"/>
              <a:gd name="connsiteY64" fmla="*/ 240436 h 918344"/>
              <a:gd name="connsiteX65" fmla="*/ 4917286 w 9517857"/>
              <a:gd name="connsiteY65" fmla="*/ 243647 h 918344"/>
              <a:gd name="connsiteX66" fmla="*/ 5060397 w 9517857"/>
              <a:gd name="connsiteY66" fmla="*/ 263676 h 918344"/>
              <a:gd name="connsiteX67" fmla="*/ 5252996 w 9517857"/>
              <a:gd name="connsiteY67" fmla="*/ 270643 h 918344"/>
              <a:gd name="connsiteX68" fmla="*/ 5358056 w 9517857"/>
              <a:gd name="connsiteY68" fmla="*/ 247236 h 918344"/>
              <a:gd name="connsiteX69" fmla="*/ 5426496 w 9517857"/>
              <a:gd name="connsiteY69" fmla="*/ 235130 h 918344"/>
              <a:gd name="connsiteX70" fmla="*/ 5497161 w 9517857"/>
              <a:gd name="connsiteY70" fmla="*/ 228796 h 918344"/>
              <a:gd name="connsiteX71" fmla="*/ 5856152 w 9517857"/>
              <a:gd name="connsiteY71" fmla="*/ 156354 h 918344"/>
              <a:gd name="connsiteX72" fmla="*/ 6014778 w 9517857"/>
              <a:gd name="connsiteY72" fmla="*/ 168326 h 918344"/>
              <a:gd name="connsiteX73" fmla="*/ 6194152 w 9517857"/>
              <a:gd name="connsiteY73" fmla="*/ 151760 h 918344"/>
              <a:gd name="connsiteX74" fmla="*/ 6281379 w 9517857"/>
              <a:gd name="connsiteY74" fmla="*/ 181614 h 918344"/>
              <a:gd name="connsiteX75" fmla="*/ 6374947 w 9517857"/>
              <a:gd name="connsiteY75" fmla="*/ 179787 h 918344"/>
              <a:gd name="connsiteX76" fmla="*/ 6448518 w 9517857"/>
              <a:gd name="connsiteY76" fmla="*/ 164366 h 918344"/>
              <a:gd name="connsiteX77" fmla="*/ 6544700 w 9517857"/>
              <a:gd name="connsiteY77" fmla="*/ 167149 h 918344"/>
              <a:gd name="connsiteX78" fmla="*/ 6648353 w 9517857"/>
              <a:gd name="connsiteY78" fmla="*/ 172238 h 918344"/>
              <a:gd name="connsiteX79" fmla="*/ 6736227 w 9517857"/>
              <a:gd name="connsiteY79" fmla="*/ 173204 h 918344"/>
              <a:gd name="connsiteX80" fmla="*/ 6977218 w 9517857"/>
              <a:gd name="connsiteY80" fmla="*/ 184277 h 918344"/>
              <a:gd name="connsiteX81" fmla="*/ 7065221 w 9517857"/>
              <a:gd name="connsiteY81" fmla="*/ 227519 h 918344"/>
              <a:gd name="connsiteX82" fmla="*/ 7366801 w 9517857"/>
              <a:gd name="connsiteY82" fmla="*/ 258938 h 918344"/>
              <a:gd name="connsiteX83" fmla="*/ 7433745 w 9517857"/>
              <a:gd name="connsiteY83" fmla="*/ 246959 h 918344"/>
              <a:gd name="connsiteX84" fmla="*/ 7644411 w 9517857"/>
              <a:gd name="connsiteY84" fmla="*/ 258974 h 918344"/>
              <a:gd name="connsiteX85" fmla="*/ 7825110 w 9517857"/>
              <a:gd name="connsiteY85" fmla="*/ 229097 h 918344"/>
              <a:gd name="connsiteX86" fmla="*/ 8147401 w 9517857"/>
              <a:gd name="connsiteY86" fmla="*/ 205605 h 918344"/>
              <a:gd name="connsiteX87" fmla="*/ 8256033 w 9517857"/>
              <a:gd name="connsiteY87" fmla="*/ 193701 h 918344"/>
              <a:gd name="connsiteX88" fmla="*/ 8551625 w 9517857"/>
              <a:gd name="connsiteY88" fmla="*/ 161505 h 918344"/>
              <a:gd name="connsiteX89" fmla="*/ 8715976 w 9517857"/>
              <a:gd name="connsiteY89" fmla="*/ 178362 h 918344"/>
              <a:gd name="connsiteX90" fmla="*/ 8778827 w 9517857"/>
              <a:gd name="connsiteY90" fmla="*/ 172924 h 918344"/>
              <a:gd name="connsiteX91" fmla="*/ 8840778 w 9517857"/>
              <a:gd name="connsiteY91" fmla="*/ 143137 h 918344"/>
              <a:gd name="connsiteX92" fmla="*/ 9010380 w 9517857"/>
              <a:gd name="connsiteY92" fmla="*/ 91879 h 918344"/>
              <a:gd name="connsiteX93" fmla="*/ 9110856 w 9517857"/>
              <a:gd name="connsiteY93" fmla="*/ 70985 h 918344"/>
              <a:gd name="connsiteX94" fmla="*/ 9268817 w 9517857"/>
              <a:gd name="connsiteY94" fmla="*/ 53070 h 918344"/>
              <a:gd name="connsiteX95" fmla="*/ 9316667 w 9517857"/>
              <a:gd name="connsiteY95" fmla="*/ 45035 h 918344"/>
              <a:gd name="connsiteX96" fmla="*/ 9428209 w 9517857"/>
              <a:gd name="connsiteY96" fmla="*/ 29911 h 918344"/>
              <a:gd name="connsiteX0" fmla="*/ 4686423 w 9517857"/>
              <a:gd name="connsiteY0" fmla="*/ 247907 h 918344"/>
              <a:gd name="connsiteX1" fmla="*/ 4689051 w 9517857"/>
              <a:gd name="connsiteY1" fmla="*/ 250956 h 918344"/>
              <a:gd name="connsiteX2" fmla="*/ 4687244 w 9517857"/>
              <a:gd name="connsiteY2" fmla="*/ 251286 h 918344"/>
              <a:gd name="connsiteX3" fmla="*/ 4686423 w 9517857"/>
              <a:gd name="connsiteY3" fmla="*/ 247907 h 918344"/>
              <a:gd name="connsiteX4" fmla="*/ 4685225 w 9517857"/>
              <a:gd name="connsiteY4" fmla="*/ 246518 h 918344"/>
              <a:gd name="connsiteX5" fmla="*/ 4686133 w 9517857"/>
              <a:gd name="connsiteY5" fmla="*/ 246715 h 918344"/>
              <a:gd name="connsiteX6" fmla="*/ 4686423 w 9517857"/>
              <a:gd name="connsiteY6" fmla="*/ 247907 h 918344"/>
              <a:gd name="connsiteX7" fmla="*/ 4685225 w 9517857"/>
              <a:gd name="connsiteY7" fmla="*/ 246518 h 918344"/>
              <a:gd name="connsiteX8" fmla="*/ 9428209 w 9517857"/>
              <a:gd name="connsiteY8" fmla="*/ 29911 h 918344"/>
              <a:gd name="connsiteX9" fmla="*/ 9517857 w 9517857"/>
              <a:gd name="connsiteY9" fmla="*/ 0 h 918344"/>
              <a:gd name="connsiteX10" fmla="*/ 9517857 w 9517857"/>
              <a:gd name="connsiteY10" fmla="*/ 918344 h 918344"/>
              <a:gd name="connsiteX11" fmla="*/ 14604 w 9517857"/>
              <a:gd name="connsiteY11" fmla="*/ 918344 h 918344"/>
              <a:gd name="connsiteX12" fmla="*/ 12841 w 9517857"/>
              <a:gd name="connsiteY12" fmla="*/ 917751 h 918344"/>
              <a:gd name="connsiteX13" fmla="*/ 93 w 9517857"/>
              <a:gd name="connsiteY13" fmla="*/ 912459 h 918344"/>
              <a:gd name="connsiteX14" fmla="*/ 58674 w 9517857"/>
              <a:gd name="connsiteY14" fmla="*/ 890310 h 918344"/>
              <a:gd name="connsiteX15" fmla="*/ 275005 w 9517857"/>
              <a:gd name="connsiteY15" fmla="*/ 807217 h 918344"/>
              <a:gd name="connsiteX16" fmla="*/ 587824 w 9517857"/>
              <a:gd name="connsiteY16" fmla="*/ 798183 h 918344"/>
              <a:gd name="connsiteX17" fmla="*/ 651826 w 9517857"/>
              <a:gd name="connsiteY17" fmla="*/ 738326 h 918344"/>
              <a:gd name="connsiteX18" fmla="*/ 727985 w 9517857"/>
              <a:gd name="connsiteY18" fmla="*/ 719814 h 918344"/>
              <a:gd name="connsiteX19" fmla="*/ 778982 w 9517857"/>
              <a:gd name="connsiteY19" fmla="*/ 710130 h 918344"/>
              <a:gd name="connsiteX20" fmla="*/ 849944 w 9517857"/>
              <a:gd name="connsiteY20" fmla="*/ 717975 h 918344"/>
              <a:gd name="connsiteX21" fmla="*/ 921659 w 9517857"/>
              <a:gd name="connsiteY21" fmla="*/ 712683 h 918344"/>
              <a:gd name="connsiteX22" fmla="*/ 930946 w 9517857"/>
              <a:gd name="connsiteY22" fmla="*/ 734034 h 918344"/>
              <a:gd name="connsiteX23" fmla="*/ 986250 w 9517857"/>
              <a:gd name="connsiteY23" fmla="*/ 713518 h 918344"/>
              <a:gd name="connsiteX24" fmla="*/ 1013752 w 9517857"/>
              <a:gd name="connsiteY24" fmla="*/ 713349 h 918344"/>
              <a:gd name="connsiteX25" fmla="*/ 1023734 w 9517857"/>
              <a:gd name="connsiteY25" fmla="*/ 718559 h 918344"/>
              <a:gd name="connsiteX26" fmla="*/ 1063207 w 9517857"/>
              <a:gd name="connsiteY26" fmla="*/ 715639 h 918344"/>
              <a:gd name="connsiteX27" fmla="*/ 1081980 w 9517857"/>
              <a:gd name="connsiteY27" fmla="*/ 738443 h 918344"/>
              <a:gd name="connsiteX28" fmla="*/ 1218120 w 9517857"/>
              <a:gd name="connsiteY28" fmla="*/ 713268 h 918344"/>
              <a:gd name="connsiteX29" fmla="*/ 1397459 w 9517857"/>
              <a:gd name="connsiteY29" fmla="*/ 691178 h 918344"/>
              <a:gd name="connsiteX30" fmla="*/ 1580688 w 9517857"/>
              <a:gd name="connsiteY30" fmla="*/ 693685 h 918344"/>
              <a:gd name="connsiteX31" fmla="*/ 1772334 w 9517857"/>
              <a:gd name="connsiteY31" fmla="*/ 710628 h 918344"/>
              <a:gd name="connsiteX32" fmla="*/ 2002561 w 9517857"/>
              <a:gd name="connsiteY32" fmla="*/ 659905 h 918344"/>
              <a:gd name="connsiteX33" fmla="*/ 2135144 w 9517857"/>
              <a:gd name="connsiteY33" fmla="*/ 636489 h 918344"/>
              <a:gd name="connsiteX34" fmla="*/ 2448505 w 9517857"/>
              <a:gd name="connsiteY34" fmla="*/ 578838 h 918344"/>
              <a:gd name="connsiteX35" fmla="*/ 2658055 w 9517857"/>
              <a:gd name="connsiteY35" fmla="*/ 578715 h 918344"/>
              <a:gd name="connsiteX36" fmla="*/ 2693698 w 9517857"/>
              <a:gd name="connsiteY36" fmla="*/ 560017 h 918344"/>
              <a:gd name="connsiteX37" fmla="*/ 2699673 w 9517857"/>
              <a:gd name="connsiteY37" fmla="*/ 556388 h 918344"/>
              <a:gd name="connsiteX38" fmla="*/ 2727306 w 9517857"/>
              <a:gd name="connsiteY38" fmla="*/ 550686 h 918344"/>
              <a:gd name="connsiteX39" fmla="*/ 2730451 w 9517857"/>
              <a:gd name="connsiteY39" fmla="*/ 538046 h 918344"/>
              <a:gd name="connsiteX40" fmla="*/ 2768713 w 9517857"/>
              <a:gd name="connsiteY40" fmla="*/ 521563 h 918344"/>
              <a:gd name="connsiteX41" fmla="*/ 2820868 w 9517857"/>
              <a:gd name="connsiteY41" fmla="*/ 514148 h 918344"/>
              <a:gd name="connsiteX42" fmla="*/ 3073635 w 9517857"/>
              <a:gd name="connsiteY42" fmla="*/ 491282 h 918344"/>
              <a:gd name="connsiteX43" fmla="*/ 3222071 w 9517857"/>
              <a:gd name="connsiteY43" fmla="*/ 470547 h 918344"/>
              <a:gd name="connsiteX44" fmla="*/ 3274069 w 9517857"/>
              <a:gd name="connsiteY44" fmla="*/ 451593 h 918344"/>
              <a:gd name="connsiteX45" fmla="*/ 3349632 w 9517857"/>
              <a:gd name="connsiteY45" fmla="*/ 432571 h 918344"/>
              <a:gd name="connsiteX46" fmla="*/ 3479593 w 9517857"/>
              <a:gd name="connsiteY46" fmla="*/ 390425 h 918344"/>
              <a:gd name="connsiteX47" fmla="*/ 3750023 w 9517857"/>
              <a:gd name="connsiteY47" fmla="*/ 370666 h 918344"/>
              <a:gd name="connsiteX48" fmla="*/ 3844133 w 9517857"/>
              <a:gd name="connsiteY48" fmla="*/ 360636 h 918344"/>
              <a:gd name="connsiteX49" fmla="*/ 3979762 w 9517857"/>
              <a:gd name="connsiteY49" fmla="*/ 350573 h 918344"/>
              <a:gd name="connsiteX50" fmla="*/ 4266740 w 9517857"/>
              <a:gd name="connsiteY50" fmla="*/ 361442 h 918344"/>
              <a:gd name="connsiteX51" fmla="*/ 4430770 w 9517857"/>
              <a:gd name="connsiteY51" fmla="*/ 342631 h 918344"/>
              <a:gd name="connsiteX52" fmla="*/ 4512664 w 9517857"/>
              <a:gd name="connsiteY52" fmla="*/ 319936 h 918344"/>
              <a:gd name="connsiteX53" fmla="*/ 4616423 w 9517857"/>
              <a:gd name="connsiteY53" fmla="*/ 290902 h 918344"/>
              <a:gd name="connsiteX54" fmla="*/ 4691675 w 9517857"/>
              <a:gd name="connsiteY54" fmla="*/ 253999 h 918344"/>
              <a:gd name="connsiteX55" fmla="*/ 4689051 w 9517857"/>
              <a:gd name="connsiteY55" fmla="*/ 250956 h 918344"/>
              <a:gd name="connsiteX56" fmla="*/ 4719994 w 9517857"/>
              <a:gd name="connsiteY56" fmla="*/ 245295 h 918344"/>
              <a:gd name="connsiteX57" fmla="*/ 4752894 w 9517857"/>
              <a:gd name="connsiteY57" fmla="*/ 239863 h 918344"/>
              <a:gd name="connsiteX58" fmla="*/ 4769329 w 9517857"/>
              <a:gd name="connsiteY58" fmla="*/ 233573 h 918344"/>
              <a:gd name="connsiteX59" fmla="*/ 4775634 w 9517857"/>
              <a:gd name="connsiteY59" fmla="*/ 234051 h 918344"/>
              <a:gd name="connsiteX60" fmla="*/ 4790452 w 9517857"/>
              <a:gd name="connsiteY60" fmla="*/ 233560 h 918344"/>
              <a:gd name="connsiteX61" fmla="*/ 4789062 w 9517857"/>
              <a:gd name="connsiteY61" fmla="*/ 241912 h 918344"/>
              <a:gd name="connsiteX62" fmla="*/ 4827826 w 9517857"/>
              <a:gd name="connsiteY62" fmla="*/ 246965 h 918344"/>
              <a:gd name="connsiteX63" fmla="*/ 4892569 w 9517857"/>
              <a:gd name="connsiteY63" fmla="*/ 249921 h 918344"/>
              <a:gd name="connsiteX64" fmla="*/ 4896611 w 9517857"/>
              <a:gd name="connsiteY64" fmla="*/ 240436 h 918344"/>
              <a:gd name="connsiteX65" fmla="*/ 4917286 w 9517857"/>
              <a:gd name="connsiteY65" fmla="*/ 243647 h 918344"/>
              <a:gd name="connsiteX66" fmla="*/ 5060397 w 9517857"/>
              <a:gd name="connsiteY66" fmla="*/ 263676 h 918344"/>
              <a:gd name="connsiteX67" fmla="*/ 5252996 w 9517857"/>
              <a:gd name="connsiteY67" fmla="*/ 270643 h 918344"/>
              <a:gd name="connsiteX68" fmla="*/ 5358056 w 9517857"/>
              <a:gd name="connsiteY68" fmla="*/ 247236 h 918344"/>
              <a:gd name="connsiteX69" fmla="*/ 5426496 w 9517857"/>
              <a:gd name="connsiteY69" fmla="*/ 235130 h 918344"/>
              <a:gd name="connsiteX70" fmla="*/ 5497161 w 9517857"/>
              <a:gd name="connsiteY70" fmla="*/ 228796 h 918344"/>
              <a:gd name="connsiteX71" fmla="*/ 5856152 w 9517857"/>
              <a:gd name="connsiteY71" fmla="*/ 156354 h 918344"/>
              <a:gd name="connsiteX72" fmla="*/ 6014778 w 9517857"/>
              <a:gd name="connsiteY72" fmla="*/ 168326 h 918344"/>
              <a:gd name="connsiteX73" fmla="*/ 6194152 w 9517857"/>
              <a:gd name="connsiteY73" fmla="*/ 151760 h 918344"/>
              <a:gd name="connsiteX74" fmla="*/ 6281379 w 9517857"/>
              <a:gd name="connsiteY74" fmla="*/ 181614 h 918344"/>
              <a:gd name="connsiteX75" fmla="*/ 6374947 w 9517857"/>
              <a:gd name="connsiteY75" fmla="*/ 179787 h 918344"/>
              <a:gd name="connsiteX76" fmla="*/ 6448518 w 9517857"/>
              <a:gd name="connsiteY76" fmla="*/ 164366 h 918344"/>
              <a:gd name="connsiteX77" fmla="*/ 6544700 w 9517857"/>
              <a:gd name="connsiteY77" fmla="*/ 167149 h 918344"/>
              <a:gd name="connsiteX78" fmla="*/ 6648353 w 9517857"/>
              <a:gd name="connsiteY78" fmla="*/ 172238 h 918344"/>
              <a:gd name="connsiteX79" fmla="*/ 6736227 w 9517857"/>
              <a:gd name="connsiteY79" fmla="*/ 173204 h 918344"/>
              <a:gd name="connsiteX80" fmla="*/ 6977218 w 9517857"/>
              <a:gd name="connsiteY80" fmla="*/ 184277 h 918344"/>
              <a:gd name="connsiteX81" fmla="*/ 7065221 w 9517857"/>
              <a:gd name="connsiteY81" fmla="*/ 227519 h 918344"/>
              <a:gd name="connsiteX82" fmla="*/ 7366801 w 9517857"/>
              <a:gd name="connsiteY82" fmla="*/ 258938 h 918344"/>
              <a:gd name="connsiteX83" fmla="*/ 7433745 w 9517857"/>
              <a:gd name="connsiteY83" fmla="*/ 246959 h 918344"/>
              <a:gd name="connsiteX84" fmla="*/ 7644411 w 9517857"/>
              <a:gd name="connsiteY84" fmla="*/ 258974 h 918344"/>
              <a:gd name="connsiteX85" fmla="*/ 7825110 w 9517857"/>
              <a:gd name="connsiteY85" fmla="*/ 229097 h 918344"/>
              <a:gd name="connsiteX86" fmla="*/ 8106016 w 9517857"/>
              <a:gd name="connsiteY86" fmla="*/ 231005 h 918344"/>
              <a:gd name="connsiteX87" fmla="*/ 8256033 w 9517857"/>
              <a:gd name="connsiteY87" fmla="*/ 193701 h 918344"/>
              <a:gd name="connsiteX88" fmla="*/ 8551625 w 9517857"/>
              <a:gd name="connsiteY88" fmla="*/ 161505 h 918344"/>
              <a:gd name="connsiteX89" fmla="*/ 8715976 w 9517857"/>
              <a:gd name="connsiteY89" fmla="*/ 178362 h 918344"/>
              <a:gd name="connsiteX90" fmla="*/ 8778827 w 9517857"/>
              <a:gd name="connsiteY90" fmla="*/ 172924 h 918344"/>
              <a:gd name="connsiteX91" fmla="*/ 8840778 w 9517857"/>
              <a:gd name="connsiteY91" fmla="*/ 143137 h 918344"/>
              <a:gd name="connsiteX92" fmla="*/ 9010380 w 9517857"/>
              <a:gd name="connsiteY92" fmla="*/ 91879 h 918344"/>
              <a:gd name="connsiteX93" fmla="*/ 9110856 w 9517857"/>
              <a:gd name="connsiteY93" fmla="*/ 70985 h 918344"/>
              <a:gd name="connsiteX94" fmla="*/ 9268817 w 9517857"/>
              <a:gd name="connsiteY94" fmla="*/ 53070 h 918344"/>
              <a:gd name="connsiteX95" fmla="*/ 9316667 w 9517857"/>
              <a:gd name="connsiteY95" fmla="*/ 45035 h 918344"/>
              <a:gd name="connsiteX96" fmla="*/ 9428209 w 9517857"/>
              <a:gd name="connsiteY96" fmla="*/ 29911 h 918344"/>
              <a:gd name="connsiteX0" fmla="*/ 4686423 w 9517857"/>
              <a:gd name="connsiteY0" fmla="*/ 247907 h 918344"/>
              <a:gd name="connsiteX1" fmla="*/ 4689051 w 9517857"/>
              <a:gd name="connsiteY1" fmla="*/ 250956 h 918344"/>
              <a:gd name="connsiteX2" fmla="*/ 4687244 w 9517857"/>
              <a:gd name="connsiteY2" fmla="*/ 251286 h 918344"/>
              <a:gd name="connsiteX3" fmla="*/ 4686423 w 9517857"/>
              <a:gd name="connsiteY3" fmla="*/ 247907 h 918344"/>
              <a:gd name="connsiteX4" fmla="*/ 4685225 w 9517857"/>
              <a:gd name="connsiteY4" fmla="*/ 246518 h 918344"/>
              <a:gd name="connsiteX5" fmla="*/ 4686133 w 9517857"/>
              <a:gd name="connsiteY5" fmla="*/ 246715 h 918344"/>
              <a:gd name="connsiteX6" fmla="*/ 4686423 w 9517857"/>
              <a:gd name="connsiteY6" fmla="*/ 247907 h 918344"/>
              <a:gd name="connsiteX7" fmla="*/ 4685225 w 9517857"/>
              <a:gd name="connsiteY7" fmla="*/ 246518 h 918344"/>
              <a:gd name="connsiteX8" fmla="*/ 9428209 w 9517857"/>
              <a:gd name="connsiteY8" fmla="*/ 29911 h 918344"/>
              <a:gd name="connsiteX9" fmla="*/ 9517857 w 9517857"/>
              <a:gd name="connsiteY9" fmla="*/ 0 h 918344"/>
              <a:gd name="connsiteX10" fmla="*/ 9517857 w 9517857"/>
              <a:gd name="connsiteY10" fmla="*/ 918344 h 918344"/>
              <a:gd name="connsiteX11" fmla="*/ 14604 w 9517857"/>
              <a:gd name="connsiteY11" fmla="*/ 918344 h 918344"/>
              <a:gd name="connsiteX12" fmla="*/ 12841 w 9517857"/>
              <a:gd name="connsiteY12" fmla="*/ 917751 h 918344"/>
              <a:gd name="connsiteX13" fmla="*/ 93 w 9517857"/>
              <a:gd name="connsiteY13" fmla="*/ 912459 h 918344"/>
              <a:gd name="connsiteX14" fmla="*/ 58674 w 9517857"/>
              <a:gd name="connsiteY14" fmla="*/ 890310 h 918344"/>
              <a:gd name="connsiteX15" fmla="*/ 275005 w 9517857"/>
              <a:gd name="connsiteY15" fmla="*/ 807217 h 918344"/>
              <a:gd name="connsiteX16" fmla="*/ 587824 w 9517857"/>
              <a:gd name="connsiteY16" fmla="*/ 798183 h 918344"/>
              <a:gd name="connsiteX17" fmla="*/ 651826 w 9517857"/>
              <a:gd name="connsiteY17" fmla="*/ 738326 h 918344"/>
              <a:gd name="connsiteX18" fmla="*/ 727985 w 9517857"/>
              <a:gd name="connsiteY18" fmla="*/ 719814 h 918344"/>
              <a:gd name="connsiteX19" fmla="*/ 778982 w 9517857"/>
              <a:gd name="connsiteY19" fmla="*/ 710130 h 918344"/>
              <a:gd name="connsiteX20" fmla="*/ 849944 w 9517857"/>
              <a:gd name="connsiteY20" fmla="*/ 717975 h 918344"/>
              <a:gd name="connsiteX21" fmla="*/ 921659 w 9517857"/>
              <a:gd name="connsiteY21" fmla="*/ 712683 h 918344"/>
              <a:gd name="connsiteX22" fmla="*/ 930946 w 9517857"/>
              <a:gd name="connsiteY22" fmla="*/ 734034 h 918344"/>
              <a:gd name="connsiteX23" fmla="*/ 986250 w 9517857"/>
              <a:gd name="connsiteY23" fmla="*/ 713518 h 918344"/>
              <a:gd name="connsiteX24" fmla="*/ 1013752 w 9517857"/>
              <a:gd name="connsiteY24" fmla="*/ 713349 h 918344"/>
              <a:gd name="connsiteX25" fmla="*/ 1023734 w 9517857"/>
              <a:gd name="connsiteY25" fmla="*/ 718559 h 918344"/>
              <a:gd name="connsiteX26" fmla="*/ 1063207 w 9517857"/>
              <a:gd name="connsiteY26" fmla="*/ 715639 h 918344"/>
              <a:gd name="connsiteX27" fmla="*/ 1081980 w 9517857"/>
              <a:gd name="connsiteY27" fmla="*/ 738443 h 918344"/>
              <a:gd name="connsiteX28" fmla="*/ 1218120 w 9517857"/>
              <a:gd name="connsiteY28" fmla="*/ 713268 h 918344"/>
              <a:gd name="connsiteX29" fmla="*/ 1397459 w 9517857"/>
              <a:gd name="connsiteY29" fmla="*/ 691178 h 918344"/>
              <a:gd name="connsiteX30" fmla="*/ 1580688 w 9517857"/>
              <a:gd name="connsiteY30" fmla="*/ 693685 h 918344"/>
              <a:gd name="connsiteX31" fmla="*/ 1772334 w 9517857"/>
              <a:gd name="connsiteY31" fmla="*/ 710628 h 918344"/>
              <a:gd name="connsiteX32" fmla="*/ 2002561 w 9517857"/>
              <a:gd name="connsiteY32" fmla="*/ 659905 h 918344"/>
              <a:gd name="connsiteX33" fmla="*/ 2135144 w 9517857"/>
              <a:gd name="connsiteY33" fmla="*/ 636489 h 918344"/>
              <a:gd name="connsiteX34" fmla="*/ 2448505 w 9517857"/>
              <a:gd name="connsiteY34" fmla="*/ 578838 h 918344"/>
              <a:gd name="connsiteX35" fmla="*/ 2658055 w 9517857"/>
              <a:gd name="connsiteY35" fmla="*/ 578715 h 918344"/>
              <a:gd name="connsiteX36" fmla="*/ 2693698 w 9517857"/>
              <a:gd name="connsiteY36" fmla="*/ 560017 h 918344"/>
              <a:gd name="connsiteX37" fmla="*/ 2699673 w 9517857"/>
              <a:gd name="connsiteY37" fmla="*/ 556388 h 918344"/>
              <a:gd name="connsiteX38" fmla="*/ 2727306 w 9517857"/>
              <a:gd name="connsiteY38" fmla="*/ 550686 h 918344"/>
              <a:gd name="connsiteX39" fmla="*/ 2730451 w 9517857"/>
              <a:gd name="connsiteY39" fmla="*/ 538046 h 918344"/>
              <a:gd name="connsiteX40" fmla="*/ 2768713 w 9517857"/>
              <a:gd name="connsiteY40" fmla="*/ 521563 h 918344"/>
              <a:gd name="connsiteX41" fmla="*/ 2820868 w 9517857"/>
              <a:gd name="connsiteY41" fmla="*/ 514148 h 918344"/>
              <a:gd name="connsiteX42" fmla="*/ 3073635 w 9517857"/>
              <a:gd name="connsiteY42" fmla="*/ 491282 h 918344"/>
              <a:gd name="connsiteX43" fmla="*/ 3222071 w 9517857"/>
              <a:gd name="connsiteY43" fmla="*/ 470547 h 918344"/>
              <a:gd name="connsiteX44" fmla="*/ 3274069 w 9517857"/>
              <a:gd name="connsiteY44" fmla="*/ 451593 h 918344"/>
              <a:gd name="connsiteX45" fmla="*/ 3349632 w 9517857"/>
              <a:gd name="connsiteY45" fmla="*/ 432571 h 918344"/>
              <a:gd name="connsiteX46" fmla="*/ 3479593 w 9517857"/>
              <a:gd name="connsiteY46" fmla="*/ 390425 h 918344"/>
              <a:gd name="connsiteX47" fmla="*/ 3750023 w 9517857"/>
              <a:gd name="connsiteY47" fmla="*/ 370666 h 918344"/>
              <a:gd name="connsiteX48" fmla="*/ 3844133 w 9517857"/>
              <a:gd name="connsiteY48" fmla="*/ 360636 h 918344"/>
              <a:gd name="connsiteX49" fmla="*/ 3979762 w 9517857"/>
              <a:gd name="connsiteY49" fmla="*/ 350573 h 918344"/>
              <a:gd name="connsiteX50" fmla="*/ 4266740 w 9517857"/>
              <a:gd name="connsiteY50" fmla="*/ 361442 h 918344"/>
              <a:gd name="connsiteX51" fmla="*/ 4430770 w 9517857"/>
              <a:gd name="connsiteY51" fmla="*/ 342631 h 918344"/>
              <a:gd name="connsiteX52" fmla="*/ 4512664 w 9517857"/>
              <a:gd name="connsiteY52" fmla="*/ 319936 h 918344"/>
              <a:gd name="connsiteX53" fmla="*/ 4616423 w 9517857"/>
              <a:gd name="connsiteY53" fmla="*/ 290902 h 918344"/>
              <a:gd name="connsiteX54" fmla="*/ 4691675 w 9517857"/>
              <a:gd name="connsiteY54" fmla="*/ 253999 h 918344"/>
              <a:gd name="connsiteX55" fmla="*/ 4689051 w 9517857"/>
              <a:gd name="connsiteY55" fmla="*/ 250956 h 918344"/>
              <a:gd name="connsiteX56" fmla="*/ 4719994 w 9517857"/>
              <a:gd name="connsiteY56" fmla="*/ 245295 h 918344"/>
              <a:gd name="connsiteX57" fmla="*/ 4752894 w 9517857"/>
              <a:gd name="connsiteY57" fmla="*/ 239863 h 918344"/>
              <a:gd name="connsiteX58" fmla="*/ 4769329 w 9517857"/>
              <a:gd name="connsiteY58" fmla="*/ 233573 h 918344"/>
              <a:gd name="connsiteX59" fmla="*/ 4775634 w 9517857"/>
              <a:gd name="connsiteY59" fmla="*/ 234051 h 918344"/>
              <a:gd name="connsiteX60" fmla="*/ 4790452 w 9517857"/>
              <a:gd name="connsiteY60" fmla="*/ 233560 h 918344"/>
              <a:gd name="connsiteX61" fmla="*/ 4789062 w 9517857"/>
              <a:gd name="connsiteY61" fmla="*/ 241912 h 918344"/>
              <a:gd name="connsiteX62" fmla="*/ 4827826 w 9517857"/>
              <a:gd name="connsiteY62" fmla="*/ 246965 h 918344"/>
              <a:gd name="connsiteX63" fmla="*/ 4892569 w 9517857"/>
              <a:gd name="connsiteY63" fmla="*/ 249921 h 918344"/>
              <a:gd name="connsiteX64" fmla="*/ 4896611 w 9517857"/>
              <a:gd name="connsiteY64" fmla="*/ 240436 h 918344"/>
              <a:gd name="connsiteX65" fmla="*/ 4917286 w 9517857"/>
              <a:gd name="connsiteY65" fmla="*/ 243647 h 918344"/>
              <a:gd name="connsiteX66" fmla="*/ 5060397 w 9517857"/>
              <a:gd name="connsiteY66" fmla="*/ 263676 h 918344"/>
              <a:gd name="connsiteX67" fmla="*/ 5252996 w 9517857"/>
              <a:gd name="connsiteY67" fmla="*/ 270643 h 918344"/>
              <a:gd name="connsiteX68" fmla="*/ 5358056 w 9517857"/>
              <a:gd name="connsiteY68" fmla="*/ 247236 h 918344"/>
              <a:gd name="connsiteX69" fmla="*/ 5426496 w 9517857"/>
              <a:gd name="connsiteY69" fmla="*/ 235130 h 918344"/>
              <a:gd name="connsiteX70" fmla="*/ 5497161 w 9517857"/>
              <a:gd name="connsiteY70" fmla="*/ 228796 h 918344"/>
              <a:gd name="connsiteX71" fmla="*/ 6014778 w 9517857"/>
              <a:gd name="connsiteY71" fmla="*/ 168326 h 918344"/>
              <a:gd name="connsiteX72" fmla="*/ 6194152 w 9517857"/>
              <a:gd name="connsiteY72" fmla="*/ 151760 h 918344"/>
              <a:gd name="connsiteX73" fmla="*/ 6281379 w 9517857"/>
              <a:gd name="connsiteY73" fmla="*/ 181614 h 918344"/>
              <a:gd name="connsiteX74" fmla="*/ 6374947 w 9517857"/>
              <a:gd name="connsiteY74" fmla="*/ 179787 h 918344"/>
              <a:gd name="connsiteX75" fmla="*/ 6448518 w 9517857"/>
              <a:gd name="connsiteY75" fmla="*/ 164366 h 918344"/>
              <a:gd name="connsiteX76" fmla="*/ 6544700 w 9517857"/>
              <a:gd name="connsiteY76" fmla="*/ 167149 h 918344"/>
              <a:gd name="connsiteX77" fmla="*/ 6648353 w 9517857"/>
              <a:gd name="connsiteY77" fmla="*/ 172238 h 918344"/>
              <a:gd name="connsiteX78" fmla="*/ 6736227 w 9517857"/>
              <a:gd name="connsiteY78" fmla="*/ 173204 h 918344"/>
              <a:gd name="connsiteX79" fmla="*/ 6977218 w 9517857"/>
              <a:gd name="connsiteY79" fmla="*/ 184277 h 918344"/>
              <a:gd name="connsiteX80" fmla="*/ 7065221 w 9517857"/>
              <a:gd name="connsiteY80" fmla="*/ 227519 h 918344"/>
              <a:gd name="connsiteX81" fmla="*/ 7366801 w 9517857"/>
              <a:gd name="connsiteY81" fmla="*/ 258938 h 918344"/>
              <a:gd name="connsiteX82" fmla="*/ 7433745 w 9517857"/>
              <a:gd name="connsiteY82" fmla="*/ 246959 h 918344"/>
              <a:gd name="connsiteX83" fmla="*/ 7644411 w 9517857"/>
              <a:gd name="connsiteY83" fmla="*/ 258974 h 918344"/>
              <a:gd name="connsiteX84" fmla="*/ 7825110 w 9517857"/>
              <a:gd name="connsiteY84" fmla="*/ 229097 h 918344"/>
              <a:gd name="connsiteX85" fmla="*/ 8106016 w 9517857"/>
              <a:gd name="connsiteY85" fmla="*/ 231005 h 918344"/>
              <a:gd name="connsiteX86" fmla="*/ 8256033 w 9517857"/>
              <a:gd name="connsiteY86" fmla="*/ 193701 h 918344"/>
              <a:gd name="connsiteX87" fmla="*/ 8551625 w 9517857"/>
              <a:gd name="connsiteY87" fmla="*/ 161505 h 918344"/>
              <a:gd name="connsiteX88" fmla="*/ 8715976 w 9517857"/>
              <a:gd name="connsiteY88" fmla="*/ 178362 h 918344"/>
              <a:gd name="connsiteX89" fmla="*/ 8778827 w 9517857"/>
              <a:gd name="connsiteY89" fmla="*/ 172924 h 918344"/>
              <a:gd name="connsiteX90" fmla="*/ 8840778 w 9517857"/>
              <a:gd name="connsiteY90" fmla="*/ 143137 h 918344"/>
              <a:gd name="connsiteX91" fmla="*/ 9010380 w 9517857"/>
              <a:gd name="connsiteY91" fmla="*/ 91879 h 918344"/>
              <a:gd name="connsiteX92" fmla="*/ 9110856 w 9517857"/>
              <a:gd name="connsiteY92" fmla="*/ 70985 h 918344"/>
              <a:gd name="connsiteX93" fmla="*/ 9268817 w 9517857"/>
              <a:gd name="connsiteY93" fmla="*/ 53070 h 918344"/>
              <a:gd name="connsiteX94" fmla="*/ 9316667 w 9517857"/>
              <a:gd name="connsiteY94" fmla="*/ 45035 h 918344"/>
              <a:gd name="connsiteX95" fmla="*/ 9428209 w 9517857"/>
              <a:gd name="connsiteY95" fmla="*/ 29911 h 918344"/>
              <a:gd name="connsiteX0" fmla="*/ 4686423 w 9517857"/>
              <a:gd name="connsiteY0" fmla="*/ 247907 h 918344"/>
              <a:gd name="connsiteX1" fmla="*/ 4689051 w 9517857"/>
              <a:gd name="connsiteY1" fmla="*/ 250956 h 918344"/>
              <a:gd name="connsiteX2" fmla="*/ 4687244 w 9517857"/>
              <a:gd name="connsiteY2" fmla="*/ 251286 h 918344"/>
              <a:gd name="connsiteX3" fmla="*/ 4686423 w 9517857"/>
              <a:gd name="connsiteY3" fmla="*/ 247907 h 918344"/>
              <a:gd name="connsiteX4" fmla="*/ 4685225 w 9517857"/>
              <a:gd name="connsiteY4" fmla="*/ 246518 h 918344"/>
              <a:gd name="connsiteX5" fmla="*/ 4686133 w 9517857"/>
              <a:gd name="connsiteY5" fmla="*/ 246715 h 918344"/>
              <a:gd name="connsiteX6" fmla="*/ 4686423 w 9517857"/>
              <a:gd name="connsiteY6" fmla="*/ 247907 h 918344"/>
              <a:gd name="connsiteX7" fmla="*/ 4685225 w 9517857"/>
              <a:gd name="connsiteY7" fmla="*/ 246518 h 918344"/>
              <a:gd name="connsiteX8" fmla="*/ 9428209 w 9517857"/>
              <a:gd name="connsiteY8" fmla="*/ 29911 h 918344"/>
              <a:gd name="connsiteX9" fmla="*/ 9517857 w 9517857"/>
              <a:gd name="connsiteY9" fmla="*/ 0 h 918344"/>
              <a:gd name="connsiteX10" fmla="*/ 9517857 w 9517857"/>
              <a:gd name="connsiteY10" fmla="*/ 918344 h 918344"/>
              <a:gd name="connsiteX11" fmla="*/ 14604 w 9517857"/>
              <a:gd name="connsiteY11" fmla="*/ 918344 h 918344"/>
              <a:gd name="connsiteX12" fmla="*/ 12841 w 9517857"/>
              <a:gd name="connsiteY12" fmla="*/ 917751 h 918344"/>
              <a:gd name="connsiteX13" fmla="*/ 93 w 9517857"/>
              <a:gd name="connsiteY13" fmla="*/ 912459 h 918344"/>
              <a:gd name="connsiteX14" fmla="*/ 58674 w 9517857"/>
              <a:gd name="connsiteY14" fmla="*/ 890310 h 918344"/>
              <a:gd name="connsiteX15" fmla="*/ 275005 w 9517857"/>
              <a:gd name="connsiteY15" fmla="*/ 807217 h 918344"/>
              <a:gd name="connsiteX16" fmla="*/ 587824 w 9517857"/>
              <a:gd name="connsiteY16" fmla="*/ 798183 h 918344"/>
              <a:gd name="connsiteX17" fmla="*/ 651826 w 9517857"/>
              <a:gd name="connsiteY17" fmla="*/ 738326 h 918344"/>
              <a:gd name="connsiteX18" fmla="*/ 727985 w 9517857"/>
              <a:gd name="connsiteY18" fmla="*/ 719814 h 918344"/>
              <a:gd name="connsiteX19" fmla="*/ 778982 w 9517857"/>
              <a:gd name="connsiteY19" fmla="*/ 710130 h 918344"/>
              <a:gd name="connsiteX20" fmla="*/ 849944 w 9517857"/>
              <a:gd name="connsiteY20" fmla="*/ 717975 h 918344"/>
              <a:gd name="connsiteX21" fmla="*/ 921659 w 9517857"/>
              <a:gd name="connsiteY21" fmla="*/ 712683 h 918344"/>
              <a:gd name="connsiteX22" fmla="*/ 930946 w 9517857"/>
              <a:gd name="connsiteY22" fmla="*/ 734034 h 918344"/>
              <a:gd name="connsiteX23" fmla="*/ 986250 w 9517857"/>
              <a:gd name="connsiteY23" fmla="*/ 713518 h 918344"/>
              <a:gd name="connsiteX24" fmla="*/ 1013752 w 9517857"/>
              <a:gd name="connsiteY24" fmla="*/ 713349 h 918344"/>
              <a:gd name="connsiteX25" fmla="*/ 1023734 w 9517857"/>
              <a:gd name="connsiteY25" fmla="*/ 718559 h 918344"/>
              <a:gd name="connsiteX26" fmla="*/ 1063207 w 9517857"/>
              <a:gd name="connsiteY26" fmla="*/ 715639 h 918344"/>
              <a:gd name="connsiteX27" fmla="*/ 1081980 w 9517857"/>
              <a:gd name="connsiteY27" fmla="*/ 738443 h 918344"/>
              <a:gd name="connsiteX28" fmla="*/ 1218120 w 9517857"/>
              <a:gd name="connsiteY28" fmla="*/ 713268 h 918344"/>
              <a:gd name="connsiteX29" fmla="*/ 1397459 w 9517857"/>
              <a:gd name="connsiteY29" fmla="*/ 691178 h 918344"/>
              <a:gd name="connsiteX30" fmla="*/ 1580688 w 9517857"/>
              <a:gd name="connsiteY30" fmla="*/ 693685 h 918344"/>
              <a:gd name="connsiteX31" fmla="*/ 1772334 w 9517857"/>
              <a:gd name="connsiteY31" fmla="*/ 710628 h 918344"/>
              <a:gd name="connsiteX32" fmla="*/ 2002561 w 9517857"/>
              <a:gd name="connsiteY32" fmla="*/ 659905 h 918344"/>
              <a:gd name="connsiteX33" fmla="*/ 2135144 w 9517857"/>
              <a:gd name="connsiteY33" fmla="*/ 636489 h 918344"/>
              <a:gd name="connsiteX34" fmla="*/ 2448505 w 9517857"/>
              <a:gd name="connsiteY34" fmla="*/ 578838 h 918344"/>
              <a:gd name="connsiteX35" fmla="*/ 2658055 w 9517857"/>
              <a:gd name="connsiteY35" fmla="*/ 578715 h 918344"/>
              <a:gd name="connsiteX36" fmla="*/ 2693698 w 9517857"/>
              <a:gd name="connsiteY36" fmla="*/ 560017 h 918344"/>
              <a:gd name="connsiteX37" fmla="*/ 2699673 w 9517857"/>
              <a:gd name="connsiteY37" fmla="*/ 556388 h 918344"/>
              <a:gd name="connsiteX38" fmla="*/ 2727306 w 9517857"/>
              <a:gd name="connsiteY38" fmla="*/ 550686 h 918344"/>
              <a:gd name="connsiteX39" fmla="*/ 2730451 w 9517857"/>
              <a:gd name="connsiteY39" fmla="*/ 538046 h 918344"/>
              <a:gd name="connsiteX40" fmla="*/ 2768713 w 9517857"/>
              <a:gd name="connsiteY40" fmla="*/ 521563 h 918344"/>
              <a:gd name="connsiteX41" fmla="*/ 2820868 w 9517857"/>
              <a:gd name="connsiteY41" fmla="*/ 514148 h 918344"/>
              <a:gd name="connsiteX42" fmla="*/ 3073635 w 9517857"/>
              <a:gd name="connsiteY42" fmla="*/ 491282 h 918344"/>
              <a:gd name="connsiteX43" fmla="*/ 3222071 w 9517857"/>
              <a:gd name="connsiteY43" fmla="*/ 470547 h 918344"/>
              <a:gd name="connsiteX44" fmla="*/ 3274069 w 9517857"/>
              <a:gd name="connsiteY44" fmla="*/ 451593 h 918344"/>
              <a:gd name="connsiteX45" fmla="*/ 3349632 w 9517857"/>
              <a:gd name="connsiteY45" fmla="*/ 432571 h 918344"/>
              <a:gd name="connsiteX46" fmla="*/ 3479593 w 9517857"/>
              <a:gd name="connsiteY46" fmla="*/ 390425 h 918344"/>
              <a:gd name="connsiteX47" fmla="*/ 3750023 w 9517857"/>
              <a:gd name="connsiteY47" fmla="*/ 370666 h 918344"/>
              <a:gd name="connsiteX48" fmla="*/ 3844133 w 9517857"/>
              <a:gd name="connsiteY48" fmla="*/ 360636 h 918344"/>
              <a:gd name="connsiteX49" fmla="*/ 3979762 w 9517857"/>
              <a:gd name="connsiteY49" fmla="*/ 350573 h 918344"/>
              <a:gd name="connsiteX50" fmla="*/ 4266740 w 9517857"/>
              <a:gd name="connsiteY50" fmla="*/ 361442 h 918344"/>
              <a:gd name="connsiteX51" fmla="*/ 4430770 w 9517857"/>
              <a:gd name="connsiteY51" fmla="*/ 342631 h 918344"/>
              <a:gd name="connsiteX52" fmla="*/ 4512664 w 9517857"/>
              <a:gd name="connsiteY52" fmla="*/ 319936 h 918344"/>
              <a:gd name="connsiteX53" fmla="*/ 4616423 w 9517857"/>
              <a:gd name="connsiteY53" fmla="*/ 290902 h 918344"/>
              <a:gd name="connsiteX54" fmla="*/ 4691675 w 9517857"/>
              <a:gd name="connsiteY54" fmla="*/ 253999 h 918344"/>
              <a:gd name="connsiteX55" fmla="*/ 4689051 w 9517857"/>
              <a:gd name="connsiteY55" fmla="*/ 250956 h 918344"/>
              <a:gd name="connsiteX56" fmla="*/ 4719994 w 9517857"/>
              <a:gd name="connsiteY56" fmla="*/ 245295 h 918344"/>
              <a:gd name="connsiteX57" fmla="*/ 4752894 w 9517857"/>
              <a:gd name="connsiteY57" fmla="*/ 239863 h 918344"/>
              <a:gd name="connsiteX58" fmla="*/ 4769329 w 9517857"/>
              <a:gd name="connsiteY58" fmla="*/ 233573 h 918344"/>
              <a:gd name="connsiteX59" fmla="*/ 4775634 w 9517857"/>
              <a:gd name="connsiteY59" fmla="*/ 234051 h 918344"/>
              <a:gd name="connsiteX60" fmla="*/ 4790452 w 9517857"/>
              <a:gd name="connsiteY60" fmla="*/ 233560 h 918344"/>
              <a:gd name="connsiteX61" fmla="*/ 4789062 w 9517857"/>
              <a:gd name="connsiteY61" fmla="*/ 241912 h 918344"/>
              <a:gd name="connsiteX62" fmla="*/ 4827826 w 9517857"/>
              <a:gd name="connsiteY62" fmla="*/ 246965 h 918344"/>
              <a:gd name="connsiteX63" fmla="*/ 4892569 w 9517857"/>
              <a:gd name="connsiteY63" fmla="*/ 249921 h 918344"/>
              <a:gd name="connsiteX64" fmla="*/ 4896611 w 9517857"/>
              <a:gd name="connsiteY64" fmla="*/ 240436 h 918344"/>
              <a:gd name="connsiteX65" fmla="*/ 4917286 w 9517857"/>
              <a:gd name="connsiteY65" fmla="*/ 243647 h 918344"/>
              <a:gd name="connsiteX66" fmla="*/ 5060397 w 9517857"/>
              <a:gd name="connsiteY66" fmla="*/ 263676 h 918344"/>
              <a:gd name="connsiteX67" fmla="*/ 5252996 w 9517857"/>
              <a:gd name="connsiteY67" fmla="*/ 270643 h 918344"/>
              <a:gd name="connsiteX68" fmla="*/ 5358056 w 9517857"/>
              <a:gd name="connsiteY68" fmla="*/ 247236 h 918344"/>
              <a:gd name="connsiteX69" fmla="*/ 5426496 w 9517857"/>
              <a:gd name="connsiteY69" fmla="*/ 235130 h 918344"/>
              <a:gd name="connsiteX70" fmla="*/ 5497161 w 9517857"/>
              <a:gd name="connsiteY70" fmla="*/ 228796 h 918344"/>
              <a:gd name="connsiteX71" fmla="*/ 5923732 w 9517857"/>
              <a:gd name="connsiteY71" fmla="*/ 187376 h 918344"/>
              <a:gd name="connsiteX72" fmla="*/ 6194152 w 9517857"/>
              <a:gd name="connsiteY72" fmla="*/ 151760 h 918344"/>
              <a:gd name="connsiteX73" fmla="*/ 6281379 w 9517857"/>
              <a:gd name="connsiteY73" fmla="*/ 181614 h 918344"/>
              <a:gd name="connsiteX74" fmla="*/ 6374947 w 9517857"/>
              <a:gd name="connsiteY74" fmla="*/ 179787 h 918344"/>
              <a:gd name="connsiteX75" fmla="*/ 6448518 w 9517857"/>
              <a:gd name="connsiteY75" fmla="*/ 164366 h 918344"/>
              <a:gd name="connsiteX76" fmla="*/ 6544700 w 9517857"/>
              <a:gd name="connsiteY76" fmla="*/ 167149 h 918344"/>
              <a:gd name="connsiteX77" fmla="*/ 6648353 w 9517857"/>
              <a:gd name="connsiteY77" fmla="*/ 172238 h 918344"/>
              <a:gd name="connsiteX78" fmla="*/ 6736227 w 9517857"/>
              <a:gd name="connsiteY78" fmla="*/ 173204 h 918344"/>
              <a:gd name="connsiteX79" fmla="*/ 6977218 w 9517857"/>
              <a:gd name="connsiteY79" fmla="*/ 184277 h 918344"/>
              <a:gd name="connsiteX80" fmla="*/ 7065221 w 9517857"/>
              <a:gd name="connsiteY80" fmla="*/ 227519 h 918344"/>
              <a:gd name="connsiteX81" fmla="*/ 7366801 w 9517857"/>
              <a:gd name="connsiteY81" fmla="*/ 258938 h 918344"/>
              <a:gd name="connsiteX82" fmla="*/ 7433745 w 9517857"/>
              <a:gd name="connsiteY82" fmla="*/ 246959 h 918344"/>
              <a:gd name="connsiteX83" fmla="*/ 7644411 w 9517857"/>
              <a:gd name="connsiteY83" fmla="*/ 258974 h 918344"/>
              <a:gd name="connsiteX84" fmla="*/ 7825110 w 9517857"/>
              <a:gd name="connsiteY84" fmla="*/ 229097 h 918344"/>
              <a:gd name="connsiteX85" fmla="*/ 8106016 w 9517857"/>
              <a:gd name="connsiteY85" fmla="*/ 231005 h 918344"/>
              <a:gd name="connsiteX86" fmla="*/ 8256033 w 9517857"/>
              <a:gd name="connsiteY86" fmla="*/ 193701 h 918344"/>
              <a:gd name="connsiteX87" fmla="*/ 8551625 w 9517857"/>
              <a:gd name="connsiteY87" fmla="*/ 161505 h 918344"/>
              <a:gd name="connsiteX88" fmla="*/ 8715976 w 9517857"/>
              <a:gd name="connsiteY88" fmla="*/ 178362 h 918344"/>
              <a:gd name="connsiteX89" fmla="*/ 8778827 w 9517857"/>
              <a:gd name="connsiteY89" fmla="*/ 172924 h 918344"/>
              <a:gd name="connsiteX90" fmla="*/ 8840778 w 9517857"/>
              <a:gd name="connsiteY90" fmla="*/ 143137 h 918344"/>
              <a:gd name="connsiteX91" fmla="*/ 9010380 w 9517857"/>
              <a:gd name="connsiteY91" fmla="*/ 91879 h 918344"/>
              <a:gd name="connsiteX92" fmla="*/ 9110856 w 9517857"/>
              <a:gd name="connsiteY92" fmla="*/ 70985 h 918344"/>
              <a:gd name="connsiteX93" fmla="*/ 9268817 w 9517857"/>
              <a:gd name="connsiteY93" fmla="*/ 53070 h 918344"/>
              <a:gd name="connsiteX94" fmla="*/ 9316667 w 9517857"/>
              <a:gd name="connsiteY94" fmla="*/ 45035 h 918344"/>
              <a:gd name="connsiteX95" fmla="*/ 9428209 w 9517857"/>
              <a:gd name="connsiteY95" fmla="*/ 29911 h 918344"/>
              <a:gd name="connsiteX0" fmla="*/ 4686423 w 9517857"/>
              <a:gd name="connsiteY0" fmla="*/ 247907 h 918344"/>
              <a:gd name="connsiteX1" fmla="*/ 4689051 w 9517857"/>
              <a:gd name="connsiteY1" fmla="*/ 250956 h 918344"/>
              <a:gd name="connsiteX2" fmla="*/ 4687244 w 9517857"/>
              <a:gd name="connsiteY2" fmla="*/ 251286 h 918344"/>
              <a:gd name="connsiteX3" fmla="*/ 4686423 w 9517857"/>
              <a:gd name="connsiteY3" fmla="*/ 247907 h 918344"/>
              <a:gd name="connsiteX4" fmla="*/ 4685225 w 9517857"/>
              <a:gd name="connsiteY4" fmla="*/ 246518 h 918344"/>
              <a:gd name="connsiteX5" fmla="*/ 4686133 w 9517857"/>
              <a:gd name="connsiteY5" fmla="*/ 246715 h 918344"/>
              <a:gd name="connsiteX6" fmla="*/ 4686423 w 9517857"/>
              <a:gd name="connsiteY6" fmla="*/ 247907 h 918344"/>
              <a:gd name="connsiteX7" fmla="*/ 4685225 w 9517857"/>
              <a:gd name="connsiteY7" fmla="*/ 246518 h 918344"/>
              <a:gd name="connsiteX8" fmla="*/ 9428209 w 9517857"/>
              <a:gd name="connsiteY8" fmla="*/ 29911 h 918344"/>
              <a:gd name="connsiteX9" fmla="*/ 9517857 w 9517857"/>
              <a:gd name="connsiteY9" fmla="*/ 0 h 918344"/>
              <a:gd name="connsiteX10" fmla="*/ 9517857 w 9517857"/>
              <a:gd name="connsiteY10" fmla="*/ 918344 h 918344"/>
              <a:gd name="connsiteX11" fmla="*/ 14604 w 9517857"/>
              <a:gd name="connsiteY11" fmla="*/ 918344 h 918344"/>
              <a:gd name="connsiteX12" fmla="*/ 12841 w 9517857"/>
              <a:gd name="connsiteY12" fmla="*/ 917751 h 918344"/>
              <a:gd name="connsiteX13" fmla="*/ 93 w 9517857"/>
              <a:gd name="connsiteY13" fmla="*/ 912459 h 918344"/>
              <a:gd name="connsiteX14" fmla="*/ 58674 w 9517857"/>
              <a:gd name="connsiteY14" fmla="*/ 890310 h 918344"/>
              <a:gd name="connsiteX15" fmla="*/ 275005 w 9517857"/>
              <a:gd name="connsiteY15" fmla="*/ 807217 h 918344"/>
              <a:gd name="connsiteX16" fmla="*/ 587824 w 9517857"/>
              <a:gd name="connsiteY16" fmla="*/ 798183 h 918344"/>
              <a:gd name="connsiteX17" fmla="*/ 651826 w 9517857"/>
              <a:gd name="connsiteY17" fmla="*/ 738326 h 918344"/>
              <a:gd name="connsiteX18" fmla="*/ 727985 w 9517857"/>
              <a:gd name="connsiteY18" fmla="*/ 719814 h 918344"/>
              <a:gd name="connsiteX19" fmla="*/ 778982 w 9517857"/>
              <a:gd name="connsiteY19" fmla="*/ 710130 h 918344"/>
              <a:gd name="connsiteX20" fmla="*/ 849944 w 9517857"/>
              <a:gd name="connsiteY20" fmla="*/ 717975 h 918344"/>
              <a:gd name="connsiteX21" fmla="*/ 921659 w 9517857"/>
              <a:gd name="connsiteY21" fmla="*/ 712683 h 918344"/>
              <a:gd name="connsiteX22" fmla="*/ 930946 w 9517857"/>
              <a:gd name="connsiteY22" fmla="*/ 734034 h 918344"/>
              <a:gd name="connsiteX23" fmla="*/ 986250 w 9517857"/>
              <a:gd name="connsiteY23" fmla="*/ 713518 h 918344"/>
              <a:gd name="connsiteX24" fmla="*/ 1013752 w 9517857"/>
              <a:gd name="connsiteY24" fmla="*/ 713349 h 918344"/>
              <a:gd name="connsiteX25" fmla="*/ 1023734 w 9517857"/>
              <a:gd name="connsiteY25" fmla="*/ 718559 h 918344"/>
              <a:gd name="connsiteX26" fmla="*/ 1063207 w 9517857"/>
              <a:gd name="connsiteY26" fmla="*/ 715639 h 918344"/>
              <a:gd name="connsiteX27" fmla="*/ 1081980 w 9517857"/>
              <a:gd name="connsiteY27" fmla="*/ 738443 h 918344"/>
              <a:gd name="connsiteX28" fmla="*/ 1218120 w 9517857"/>
              <a:gd name="connsiteY28" fmla="*/ 713268 h 918344"/>
              <a:gd name="connsiteX29" fmla="*/ 1397459 w 9517857"/>
              <a:gd name="connsiteY29" fmla="*/ 691178 h 918344"/>
              <a:gd name="connsiteX30" fmla="*/ 1580688 w 9517857"/>
              <a:gd name="connsiteY30" fmla="*/ 693685 h 918344"/>
              <a:gd name="connsiteX31" fmla="*/ 1772334 w 9517857"/>
              <a:gd name="connsiteY31" fmla="*/ 710628 h 918344"/>
              <a:gd name="connsiteX32" fmla="*/ 2002561 w 9517857"/>
              <a:gd name="connsiteY32" fmla="*/ 659905 h 918344"/>
              <a:gd name="connsiteX33" fmla="*/ 2135144 w 9517857"/>
              <a:gd name="connsiteY33" fmla="*/ 636489 h 918344"/>
              <a:gd name="connsiteX34" fmla="*/ 2448505 w 9517857"/>
              <a:gd name="connsiteY34" fmla="*/ 578838 h 918344"/>
              <a:gd name="connsiteX35" fmla="*/ 2658055 w 9517857"/>
              <a:gd name="connsiteY35" fmla="*/ 578715 h 918344"/>
              <a:gd name="connsiteX36" fmla="*/ 2693698 w 9517857"/>
              <a:gd name="connsiteY36" fmla="*/ 560017 h 918344"/>
              <a:gd name="connsiteX37" fmla="*/ 2699673 w 9517857"/>
              <a:gd name="connsiteY37" fmla="*/ 556388 h 918344"/>
              <a:gd name="connsiteX38" fmla="*/ 2727306 w 9517857"/>
              <a:gd name="connsiteY38" fmla="*/ 550686 h 918344"/>
              <a:gd name="connsiteX39" fmla="*/ 2730451 w 9517857"/>
              <a:gd name="connsiteY39" fmla="*/ 538046 h 918344"/>
              <a:gd name="connsiteX40" fmla="*/ 2768713 w 9517857"/>
              <a:gd name="connsiteY40" fmla="*/ 521563 h 918344"/>
              <a:gd name="connsiteX41" fmla="*/ 2820868 w 9517857"/>
              <a:gd name="connsiteY41" fmla="*/ 514148 h 918344"/>
              <a:gd name="connsiteX42" fmla="*/ 3073635 w 9517857"/>
              <a:gd name="connsiteY42" fmla="*/ 491282 h 918344"/>
              <a:gd name="connsiteX43" fmla="*/ 3222071 w 9517857"/>
              <a:gd name="connsiteY43" fmla="*/ 470547 h 918344"/>
              <a:gd name="connsiteX44" fmla="*/ 3274069 w 9517857"/>
              <a:gd name="connsiteY44" fmla="*/ 451593 h 918344"/>
              <a:gd name="connsiteX45" fmla="*/ 3349632 w 9517857"/>
              <a:gd name="connsiteY45" fmla="*/ 432571 h 918344"/>
              <a:gd name="connsiteX46" fmla="*/ 3479593 w 9517857"/>
              <a:gd name="connsiteY46" fmla="*/ 390425 h 918344"/>
              <a:gd name="connsiteX47" fmla="*/ 3750023 w 9517857"/>
              <a:gd name="connsiteY47" fmla="*/ 370666 h 918344"/>
              <a:gd name="connsiteX48" fmla="*/ 3844133 w 9517857"/>
              <a:gd name="connsiteY48" fmla="*/ 360636 h 918344"/>
              <a:gd name="connsiteX49" fmla="*/ 3979762 w 9517857"/>
              <a:gd name="connsiteY49" fmla="*/ 350573 h 918344"/>
              <a:gd name="connsiteX50" fmla="*/ 4266740 w 9517857"/>
              <a:gd name="connsiteY50" fmla="*/ 361442 h 918344"/>
              <a:gd name="connsiteX51" fmla="*/ 4430770 w 9517857"/>
              <a:gd name="connsiteY51" fmla="*/ 342631 h 918344"/>
              <a:gd name="connsiteX52" fmla="*/ 4512664 w 9517857"/>
              <a:gd name="connsiteY52" fmla="*/ 319936 h 918344"/>
              <a:gd name="connsiteX53" fmla="*/ 4616423 w 9517857"/>
              <a:gd name="connsiteY53" fmla="*/ 290902 h 918344"/>
              <a:gd name="connsiteX54" fmla="*/ 4691675 w 9517857"/>
              <a:gd name="connsiteY54" fmla="*/ 253999 h 918344"/>
              <a:gd name="connsiteX55" fmla="*/ 4689051 w 9517857"/>
              <a:gd name="connsiteY55" fmla="*/ 250956 h 918344"/>
              <a:gd name="connsiteX56" fmla="*/ 4719994 w 9517857"/>
              <a:gd name="connsiteY56" fmla="*/ 245295 h 918344"/>
              <a:gd name="connsiteX57" fmla="*/ 4752894 w 9517857"/>
              <a:gd name="connsiteY57" fmla="*/ 239863 h 918344"/>
              <a:gd name="connsiteX58" fmla="*/ 4769329 w 9517857"/>
              <a:gd name="connsiteY58" fmla="*/ 233573 h 918344"/>
              <a:gd name="connsiteX59" fmla="*/ 4775634 w 9517857"/>
              <a:gd name="connsiteY59" fmla="*/ 234051 h 918344"/>
              <a:gd name="connsiteX60" fmla="*/ 4790452 w 9517857"/>
              <a:gd name="connsiteY60" fmla="*/ 233560 h 918344"/>
              <a:gd name="connsiteX61" fmla="*/ 4789062 w 9517857"/>
              <a:gd name="connsiteY61" fmla="*/ 241912 h 918344"/>
              <a:gd name="connsiteX62" fmla="*/ 4827826 w 9517857"/>
              <a:gd name="connsiteY62" fmla="*/ 246965 h 918344"/>
              <a:gd name="connsiteX63" fmla="*/ 4892569 w 9517857"/>
              <a:gd name="connsiteY63" fmla="*/ 249921 h 918344"/>
              <a:gd name="connsiteX64" fmla="*/ 4896611 w 9517857"/>
              <a:gd name="connsiteY64" fmla="*/ 240436 h 918344"/>
              <a:gd name="connsiteX65" fmla="*/ 4917286 w 9517857"/>
              <a:gd name="connsiteY65" fmla="*/ 243647 h 918344"/>
              <a:gd name="connsiteX66" fmla="*/ 5060397 w 9517857"/>
              <a:gd name="connsiteY66" fmla="*/ 263676 h 918344"/>
              <a:gd name="connsiteX67" fmla="*/ 5252996 w 9517857"/>
              <a:gd name="connsiteY67" fmla="*/ 270643 h 918344"/>
              <a:gd name="connsiteX68" fmla="*/ 5358056 w 9517857"/>
              <a:gd name="connsiteY68" fmla="*/ 247236 h 918344"/>
              <a:gd name="connsiteX69" fmla="*/ 5426496 w 9517857"/>
              <a:gd name="connsiteY69" fmla="*/ 235130 h 918344"/>
              <a:gd name="connsiteX70" fmla="*/ 5497161 w 9517857"/>
              <a:gd name="connsiteY70" fmla="*/ 228796 h 918344"/>
              <a:gd name="connsiteX71" fmla="*/ 5923732 w 9517857"/>
              <a:gd name="connsiteY71" fmla="*/ 187376 h 918344"/>
              <a:gd name="connsiteX72" fmla="*/ 6194152 w 9517857"/>
              <a:gd name="connsiteY72" fmla="*/ 151760 h 918344"/>
              <a:gd name="connsiteX73" fmla="*/ 6281379 w 9517857"/>
              <a:gd name="connsiteY73" fmla="*/ 181614 h 918344"/>
              <a:gd name="connsiteX74" fmla="*/ 6374947 w 9517857"/>
              <a:gd name="connsiteY74" fmla="*/ 179787 h 918344"/>
              <a:gd name="connsiteX75" fmla="*/ 6448518 w 9517857"/>
              <a:gd name="connsiteY75" fmla="*/ 164366 h 918344"/>
              <a:gd name="connsiteX76" fmla="*/ 6544700 w 9517857"/>
              <a:gd name="connsiteY76" fmla="*/ 167149 h 918344"/>
              <a:gd name="connsiteX77" fmla="*/ 6648353 w 9517857"/>
              <a:gd name="connsiteY77" fmla="*/ 172238 h 918344"/>
              <a:gd name="connsiteX78" fmla="*/ 6736227 w 9517857"/>
              <a:gd name="connsiteY78" fmla="*/ 173204 h 918344"/>
              <a:gd name="connsiteX79" fmla="*/ 6977218 w 9517857"/>
              <a:gd name="connsiteY79" fmla="*/ 184277 h 918344"/>
              <a:gd name="connsiteX80" fmla="*/ 7065221 w 9517857"/>
              <a:gd name="connsiteY80" fmla="*/ 227519 h 918344"/>
              <a:gd name="connsiteX81" fmla="*/ 7366801 w 9517857"/>
              <a:gd name="connsiteY81" fmla="*/ 258938 h 918344"/>
              <a:gd name="connsiteX82" fmla="*/ 7433745 w 9517857"/>
              <a:gd name="connsiteY82" fmla="*/ 246959 h 918344"/>
              <a:gd name="connsiteX83" fmla="*/ 7644411 w 9517857"/>
              <a:gd name="connsiteY83" fmla="*/ 258974 h 918344"/>
              <a:gd name="connsiteX84" fmla="*/ 7825110 w 9517857"/>
              <a:gd name="connsiteY84" fmla="*/ 229097 h 918344"/>
              <a:gd name="connsiteX85" fmla="*/ 8106016 w 9517857"/>
              <a:gd name="connsiteY85" fmla="*/ 231005 h 918344"/>
              <a:gd name="connsiteX86" fmla="*/ 8256033 w 9517857"/>
              <a:gd name="connsiteY86" fmla="*/ 193701 h 918344"/>
              <a:gd name="connsiteX87" fmla="*/ 8551625 w 9517857"/>
              <a:gd name="connsiteY87" fmla="*/ 161505 h 918344"/>
              <a:gd name="connsiteX88" fmla="*/ 8715976 w 9517857"/>
              <a:gd name="connsiteY88" fmla="*/ 178362 h 918344"/>
              <a:gd name="connsiteX89" fmla="*/ 8778827 w 9517857"/>
              <a:gd name="connsiteY89" fmla="*/ 172924 h 918344"/>
              <a:gd name="connsiteX90" fmla="*/ 8840778 w 9517857"/>
              <a:gd name="connsiteY90" fmla="*/ 143137 h 918344"/>
              <a:gd name="connsiteX91" fmla="*/ 9010380 w 9517857"/>
              <a:gd name="connsiteY91" fmla="*/ 91879 h 918344"/>
              <a:gd name="connsiteX92" fmla="*/ 9110856 w 9517857"/>
              <a:gd name="connsiteY92" fmla="*/ 70985 h 918344"/>
              <a:gd name="connsiteX93" fmla="*/ 9268817 w 9517857"/>
              <a:gd name="connsiteY93" fmla="*/ 53070 h 918344"/>
              <a:gd name="connsiteX94" fmla="*/ 9316667 w 9517857"/>
              <a:gd name="connsiteY94" fmla="*/ 45035 h 918344"/>
              <a:gd name="connsiteX95" fmla="*/ 9428209 w 9517857"/>
              <a:gd name="connsiteY95" fmla="*/ 29911 h 918344"/>
              <a:gd name="connsiteX0" fmla="*/ 4686423 w 9517857"/>
              <a:gd name="connsiteY0" fmla="*/ 247907 h 918344"/>
              <a:gd name="connsiteX1" fmla="*/ 4689051 w 9517857"/>
              <a:gd name="connsiteY1" fmla="*/ 250956 h 918344"/>
              <a:gd name="connsiteX2" fmla="*/ 4687244 w 9517857"/>
              <a:gd name="connsiteY2" fmla="*/ 251286 h 918344"/>
              <a:gd name="connsiteX3" fmla="*/ 4686423 w 9517857"/>
              <a:gd name="connsiteY3" fmla="*/ 247907 h 918344"/>
              <a:gd name="connsiteX4" fmla="*/ 4685225 w 9517857"/>
              <a:gd name="connsiteY4" fmla="*/ 246518 h 918344"/>
              <a:gd name="connsiteX5" fmla="*/ 4686133 w 9517857"/>
              <a:gd name="connsiteY5" fmla="*/ 246715 h 918344"/>
              <a:gd name="connsiteX6" fmla="*/ 4686423 w 9517857"/>
              <a:gd name="connsiteY6" fmla="*/ 247907 h 918344"/>
              <a:gd name="connsiteX7" fmla="*/ 4685225 w 9517857"/>
              <a:gd name="connsiteY7" fmla="*/ 246518 h 918344"/>
              <a:gd name="connsiteX8" fmla="*/ 9428209 w 9517857"/>
              <a:gd name="connsiteY8" fmla="*/ 29911 h 918344"/>
              <a:gd name="connsiteX9" fmla="*/ 9517857 w 9517857"/>
              <a:gd name="connsiteY9" fmla="*/ 0 h 918344"/>
              <a:gd name="connsiteX10" fmla="*/ 9517857 w 9517857"/>
              <a:gd name="connsiteY10" fmla="*/ 918344 h 918344"/>
              <a:gd name="connsiteX11" fmla="*/ 14604 w 9517857"/>
              <a:gd name="connsiteY11" fmla="*/ 918344 h 918344"/>
              <a:gd name="connsiteX12" fmla="*/ 12841 w 9517857"/>
              <a:gd name="connsiteY12" fmla="*/ 917751 h 918344"/>
              <a:gd name="connsiteX13" fmla="*/ 93 w 9517857"/>
              <a:gd name="connsiteY13" fmla="*/ 912459 h 918344"/>
              <a:gd name="connsiteX14" fmla="*/ 58674 w 9517857"/>
              <a:gd name="connsiteY14" fmla="*/ 890310 h 918344"/>
              <a:gd name="connsiteX15" fmla="*/ 275005 w 9517857"/>
              <a:gd name="connsiteY15" fmla="*/ 807217 h 918344"/>
              <a:gd name="connsiteX16" fmla="*/ 587824 w 9517857"/>
              <a:gd name="connsiteY16" fmla="*/ 798183 h 918344"/>
              <a:gd name="connsiteX17" fmla="*/ 651826 w 9517857"/>
              <a:gd name="connsiteY17" fmla="*/ 738326 h 918344"/>
              <a:gd name="connsiteX18" fmla="*/ 727985 w 9517857"/>
              <a:gd name="connsiteY18" fmla="*/ 719814 h 918344"/>
              <a:gd name="connsiteX19" fmla="*/ 778982 w 9517857"/>
              <a:gd name="connsiteY19" fmla="*/ 710130 h 918344"/>
              <a:gd name="connsiteX20" fmla="*/ 849944 w 9517857"/>
              <a:gd name="connsiteY20" fmla="*/ 717975 h 918344"/>
              <a:gd name="connsiteX21" fmla="*/ 921659 w 9517857"/>
              <a:gd name="connsiteY21" fmla="*/ 712683 h 918344"/>
              <a:gd name="connsiteX22" fmla="*/ 930946 w 9517857"/>
              <a:gd name="connsiteY22" fmla="*/ 734034 h 918344"/>
              <a:gd name="connsiteX23" fmla="*/ 986250 w 9517857"/>
              <a:gd name="connsiteY23" fmla="*/ 713518 h 918344"/>
              <a:gd name="connsiteX24" fmla="*/ 1013752 w 9517857"/>
              <a:gd name="connsiteY24" fmla="*/ 713349 h 918344"/>
              <a:gd name="connsiteX25" fmla="*/ 1023734 w 9517857"/>
              <a:gd name="connsiteY25" fmla="*/ 718559 h 918344"/>
              <a:gd name="connsiteX26" fmla="*/ 1063207 w 9517857"/>
              <a:gd name="connsiteY26" fmla="*/ 715639 h 918344"/>
              <a:gd name="connsiteX27" fmla="*/ 1081980 w 9517857"/>
              <a:gd name="connsiteY27" fmla="*/ 738443 h 918344"/>
              <a:gd name="connsiteX28" fmla="*/ 1218120 w 9517857"/>
              <a:gd name="connsiteY28" fmla="*/ 713268 h 918344"/>
              <a:gd name="connsiteX29" fmla="*/ 1397459 w 9517857"/>
              <a:gd name="connsiteY29" fmla="*/ 691178 h 918344"/>
              <a:gd name="connsiteX30" fmla="*/ 1580688 w 9517857"/>
              <a:gd name="connsiteY30" fmla="*/ 693685 h 918344"/>
              <a:gd name="connsiteX31" fmla="*/ 1772334 w 9517857"/>
              <a:gd name="connsiteY31" fmla="*/ 710628 h 918344"/>
              <a:gd name="connsiteX32" fmla="*/ 2002561 w 9517857"/>
              <a:gd name="connsiteY32" fmla="*/ 659905 h 918344"/>
              <a:gd name="connsiteX33" fmla="*/ 2135144 w 9517857"/>
              <a:gd name="connsiteY33" fmla="*/ 636489 h 918344"/>
              <a:gd name="connsiteX34" fmla="*/ 2448505 w 9517857"/>
              <a:gd name="connsiteY34" fmla="*/ 578838 h 918344"/>
              <a:gd name="connsiteX35" fmla="*/ 2658055 w 9517857"/>
              <a:gd name="connsiteY35" fmla="*/ 578715 h 918344"/>
              <a:gd name="connsiteX36" fmla="*/ 2693698 w 9517857"/>
              <a:gd name="connsiteY36" fmla="*/ 560017 h 918344"/>
              <a:gd name="connsiteX37" fmla="*/ 2699673 w 9517857"/>
              <a:gd name="connsiteY37" fmla="*/ 556388 h 918344"/>
              <a:gd name="connsiteX38" fmla="*/ 2727306 w 9517857"/>
              <a:gd name="connsiteY38" fmla="*/ 550686 h 918344"/>
              <a:gd name="connsiteX39" fmla="*/ 2730451 w 9517857"/>
              <a:gd name="connsiteY39" fmla="*/ 538046 h 918344"/>
              <a:gd name="connsiteX40" fmla="*/ 2768713 w 9517857"/>
              <a:gd name="connsiteY40" fmla="*/ 521563 h 918344"/>
              <a:gd name="connsiteX41" fmla="*/ 2820868 w 9517857"/>
              <a:gd name="connsiteY41" fmla="*/ 514148 h 918344"/>
              <a:gd name="connsiteX42" fmla="*/ 3073635 w 9517857"/>
              <a:gd name="connsiteY42" fmla="*/ 491282 h 918344"/>
              <a:gd name="connsiteX43" fmla="*/ 3222071 w 9517857"/>
              <a:gd name="connsiteY43" fmla="*/ 470547 h 918344"/>
              <a:gd name="connsiteX44" fmla="*/ 3274069 w 9517857"/>
              <a:gd name="connsiteY44" fmla="*/ 451593 h 918344"/>
              <a:gd name="connsiteX45" fmla="*/ 3349632 w 9517857"/>
              <a:gd name="connsiteY45" fmla="*/ 432571 h 918344"/>
              <a:gd name="connsiteX46" fmla="*/ 3479593 w 9517857"/>
              <a:gd name="connsiteY46" fmla="*/ 390425 h 918344"/>
              <a:gd name="connsiteX47" fmla="*/ 3750023 w 9517857"/>
              <a:gd name="connsiteY47" fmla="*/ 370666 h 918344"/>
              <a:gd name="connsiteX48" fmla="*/ 3844133 w 9517857"/>
              <a:gd name="connsiteY48" fmla="*/ 360636 h 918344"/>
              <a:gd name="connsiteX49" fmla="*/ 3979762 w 9517857"/>
              <a:gd name="connsiteY49" fmla="*/ 350573 h 918344"/>
              <a:gd name="connsiteX50" fmla="*/ 4266740 w 9517857"/>
              <a:gd name="connsiteY50" fmla="*/ 361442 h 918344"/>
              <a:gd name="connsiteX51" fmla="*/ 4430770 w 9517857"/>
              <a:gd name="connsiteY51" fmla="*/ 342631 h 918344"/>
              <a:gd name="connsiteX52" fmla="*/ 4512664 w 9517857"/>
              <a:gd name="connsiteY52" fmla="*/ 319936 h 918344"/>
              <a:gd name="connsiteX53" fmla="*/ 4616423 w 9517857"/>
              <a:gd name="connsiteY53" fmla="*/ 290902 h 918344"/>
              <a:gd name="connsiteX54" fmla="*/ 4691675 w 9517857"/>
              <a:gd name="connsiteY54" fmla="*/ 253999 h 918344"/>
              <a:gd name="connsiteX55" fmla="*/ 4689051 w 9517857"/>
              <a:gd name="connsiteY55" fmla="*/ 250956 h 918344"/>
              <a:gd name="connsiteX56" fmla="*/ 4719994 w 9517857"/>
              <a:gd name="connsiteY56" fmla="*/ 245295 h 918344"/>
              <a:gd name="connsiteX57" fmla="*/ 4752894 w 9517857"/>
              <a:gd name="connsiteY57" fmla="*/ 239863 h 918344"/>
              <a:gd name="connsiteX58" fmla="*/ 4769329 w 9517857"/>
              <a:gd name="connsiteY58" fmla="*/ 233573 h 918344"/>
              <a:gd name="connsiteX59" fmla="*/ 4775634 w 9517857"/>
              <a:gd name="connsiteY59" fmla="*/ 234051 h 918344"/>
              <a:gd name="connsiteX60" fmla="*/ 4790452 w 9517857"/>
              <a:gd name="connsiteY60" fmla="*/ 233560 h 918344"/>
              <a:gd name="connsiteX61" fmla="*/ 4789062 w 9517857"/>
              <a:gd name="connsiteY61" fmla="*/ 241912 h 918344"/>
              <a:gd name="connsiteX62" fmla="*/ 4827826 w 9517857"/>
              <a:gd name="connsiteY62" fmla="*/ 246965 h 918344"/>
              <a:gd name="connsiteX63" fmla="*/ 4892569 w 9517857"/>
              <a:gd name="connsiteY63" fmla="*/ 249921 h 918344"/>
              <a:gd name="connsiteX64" fmla="*/ 4896611 w 9517857"/>
              <a:gd name="connsiteY64" fmla="*/ 240436 h 918344"/>
              <a:gd name="connsiteX65" fmla="*/ 4917286 w 9517857"/>
              <a:gd name="connsiteY65" fmla="*/ 243647 h 918344"/>
              <a:gd name="connsiteX66" fmla="*/ 5060397 w 9517857"/>
              <a:gd name="connsiteY66" fmla="*/ 263676 h 918344"/>
              <a:gd name="connsiteX67" fmla="*/ 5244719 w 9517857"/>
              <a:gd name="connsiteY67" fmla="*/ 245243 h 918344"/>
              <a:gd name="connsiteX68" fmla="*/ 5358056 w 9517857"/>
              <a:gd name="connsiteY68" fmla="*/ 247236 h 918344"/>
              <a:gd name="connsiteX69" fmla="*/ 5426496 w 9517857"/>
              <a:gd name="connsiteY69" fmla="*/ 235130 h 918344"/>
              <a:gd name="connsiteX70" fmla="*/ 5497161 w 9517857"/>
              <a:gd name="connsiteY70" fmla="*/ 228796 h 918344"/>
              <a:gd name="connsiteX71" fmla="*/ 5923732 w 9517857"/>
              <a:gd name="connsiteY71" fmla="*/ 187376 h 918344"/>
              <a:gd name="connsiteX72" fmla="*/ 6194152 w 9517857"/>
              <a:gd name="connsiteY72" fmla="*/ 151760 h 918344"/>
              <a:gd name="connsiteX73" fmla="*/ 6281379 w 9517857"/>
              <a:gd name="connsiteY73" fmla="*/ 181614 h 918344"/>
              <a:gd name="connsiteX74" fmla="*/ 6374947 w 9517857"/>
              <a:gd name="connsiteY74" fmla="*/ 179787 h 918344"/>
              <a:gd name="connsiteX75" fmla="*/ 6448518 w 9517857"/>
              <a:gd name="connsiteY75" fmla="*/ 164366 h 918344"/>
              <a:gd name="connsiteX76" fmla="*/ 6544700 w 9517857"/>
              <a:gd name="connsiteY76" fmla="*/ 167149 h 918344"/>
              <a:gd name="connsiteX77" fmla="*/ 6648353 w 9517857"/>
              <a:gd name="connsiteY77" fmla="*/ 172238 h 918344"/>
              <a:gd name="connsiteX78" fmla="*/ 6736227 w 9517857"/>
              <a:gd name="connsiteY78" fmla="*/ 173204 h 918344"/>
              <a:gd name="connsiteX79" fmla="*/ 6977218 w 9517857"/>
              <a:gd name="connsiteY79" fmla="*/ 184277 h 918344"/>
              <a:gd name="connsiteX80" fmla="*/ 7065221 w 9517857"/>
              <a:gd name="connsiteY80" fmla="*/ 227519 h 918344"/>
              <a:gd name="connsiteX81" fmla="*/ 7366801 w 9517857"/>
              <a:gd name="connsiteY81" fmla="*/ 258938 h 918344"/>
              <a:gd name="connsiteX82" fmla="*/ 7433745 w 9517857"/>
              <a:gd name="connsiteY82" fmla="*/ 246959 h 918344"/>
              <a:gd name="connsiteX83" fmla="*/ 7644411 w 9517857"/>
              <a:gd name="connsiteY83" fmla="*/ 258974 h 918344"/>
              <a:gd name="connsiteX84" fmla="*/ 7825110 w 9517857"/>
              <a:gd name="connsiteY84" fmla="*/ 229097 h 918344"/>
              <a:gd name="connsiteX85" fmla="*/ 8106016 w 9517857"/>
              <a:gd name="connsiteY85" fmla="*/ 231005 h 918344"/>
              <a:gd name="connsiteX86" fmla="*/ 8256033 w 9517857"/>
              <a:gd name="connsiteY86" fmla="*/ 193701 h 918344"/>
              <a:gd name="connsiteX87" fmla="*/ 8551625 w 9517857"/>
              <a:gd name="connsiteY87" fmla="*/ 161505 h 918344"/>
              <a:gd name="connsiteX88" fmla="*/ 8715976 w 9517857"/>
              <a:gd name="connsiteY88" fmla="*/ 178362 h 918344"/>
              <a:gd name="connsiteX89" fmla="*/ 8778827 w 9517857"/>
              <a:gd name="connsiteY89" fmla="*/ 172924 h 918344"/>
              <a:gd name="connsiteX90" fmla="*/ 8840778 w 9517857"/>
              <a:gd name="connsiteY90" fmla="*/ 143137 h 918344"/>
              <a:gd name="connsiteX91" fmla="*/ 9010380 w 9517857"/>
              <a:gd name="connsiteY91" fmla="*/ 91879 h 918344"/>
              <a:gd name="connsiteX92" fmla="*/ 9110856 w 9517857"/>
              <a:gd name="connsiteY92" fmla="*/ 70985 h 918344"/>
              <a:gd name="connsiteX93" fmla="*/ 9268817 w 9517857"/>
              <a:gd name="connsiteY93" fmla="*/ 53070 h 918344"/>
              <a:gd name="connsiteX94" fmla="*/ 9316667 w 9517857"/>
              <a:gd name="connsiteY94" fmla="*/ 45035 h 918344"/>
              <a:gd name="connsiteX95" fmla="*/ 9428209 w 9517857"/>
              <a:gd name="connsiteY95" fmla="*/ 29911 h 918344"/>
              <a:gd name="connsiteX0" fmla="*/ 4686423 w 9517857"/>
              <a:gd name="connsiteY0" fmla="*/ 247907 h 918344"/>
              <a:gd name="connsiteX1" fmla="*/ 4689051 w 9517857"/>
              <a:gd name="connsiteY1" fmla="*/ 250956 h 918344"/>
              <a:gd name="connsiteX2" fmla="*/ 4687244 w 9517857"/>
              <a:gd name="connsiteY2" fmla="*/ 251286 h 918344"/>
              <a:gd name="connsiteX3" fmla="*/ 4686423 w 9517857"/>
              <a:gd name="connsiteY3" fmla="*/ 247907 h 918344"/>
              <a:gd name="connsiteX4" fmla="*/ 4685225 w 9517857"/>
              <a:gd name="connsiteY4" fmla="*/ 246518 h 918344"/>
              <a:gd name="connsiteX5" fmla="*/ 4686133 w 9517857"/>
              <a:gd name="connsiteY5" fmla="*/ 246715 h 918344"/>
              <a:gd name="connsiteX6" fmla="*/ 4686423 w 9517857"/>
              <a:gd name="connsiteY6" fmla="*/ 247907 h 918344"/>
              <a:gd name="connsiteX7" fmla="*/ 4685225 w 9517857"/>
              <a:gd name="connsiteY7" fmla="*/ 246518 h 918344"/>
              <a:gd name="connsiteX8" fmla="*/ 9428209 w 9517857"/>
              <a:gd name="connsiteY8" fmla="*/ 29911 h 918344"/>
              <a:gd name="connsiteX9" fmla="*/ 9517857 w 9517857"/>
              <a:gd name="connsiteY9" fmla="*/ 0 h 918344"/>
              <a:gd name="connsiteX10" fmla="*/ 9517857 w 9517857"/>
              <a:gd name="connsiteY10" fmla="*/ 918344 h 918344"/>
              <a:gd name="connsiteX11" fmla="*/ 14604 w 9517857"/>
              <a:gd name="connsiteY11" fmla="*/ 918344 h 918344"/>
              <a:gd name="connsiteX12" fmla="*/ 12841 w 9517857"/>
              <a:gd name="connsiteY12" fmla="*/ 917751 h 918344"/>
              <a:gd name="connsiteX13" fmla="*/ 93 w 9517857"/>
              <a:gd name="connsiteY13" fmla="*/ 912459 h 918344"/>
              <a:gd name="connsiteX14" fmla="*/ 58674 w 9517857"/>
              <a:gd name="connsiteY14" fmla="*/ 890310 h 918344"/>
              <a:gd name="connsiteX15" fmla="*/ 275005 w 9517857"/>
              <a:gd name="connsiteY15" fmla="*/ 807217 h 918344"/>
              <a:gd name="connsiteX16" fmla="*/ 587824 w 9517857"/>
              <a:gd name="connsiteY16" fmla="*/ 798183 h 918344"/>
              <a:gd name="connsiteX17" fmla="*/ 651826 w 9517857"/>
              <a:gd name="connsiteY17" fmla="*/ 738326 h 918344"/>
              <a:gd name="connsiteX18" fmla="*/ 727985 w 9517857"/>
              <a:gd name="connsiteY18" fmla="*/ 719814 h 918344"/>
              <a:gd name="connsiteX19" fmla="*/ 778982 w 9517857"/>
              <a:gd name="connsiteY19" fmla="*/ 710130 h 918344"/>
              <a:gd name="connsiteX20" fmla="*/ 849944 w 9517857"/>
              <a:gd name="connsiteY20" fmla="*/ 717975 h 918344"/>
              <a:gd name="connsiteX21" fmla="*/ 921659 w 9517857"/>
              <a:gd name="connsiteY21" fmla="*/ 712683 h 918344"/>
              <a:gd name="connsiteX22" fmla="*/ 930946 w 9517857"/>
              <a:gd name="connsiteY22" fmla="*/ 734034 h 918344"/>
              <a:gd name="connsiteX23" fmla="*/ 986250 w 9517857"/>
              <a:gd name="connsiteY23" fmla="*/ 713518 h 918344"/>
              <a:gd name="connsiteX24" fmla="*/ 1013752 w 9517857"/>
              <a:gd name="connsiteY24" fmla="*/ 713349 h 918344"/>
              <a:gd name="connsiteX25" fmla="*/ 1023734 w 9517857"/>
              <a:gd name="connsiteY25" fmla="*/ 718559 h 918344"/>
              <a:gd name="connsiteX26" fmla="*/ 1063207 w 9517857"/>
              <a:gd name="connsiteY26" fmla="*/ 715639 h 918344"/>
              <a:gd name="connsiteX27" fmla="*/ 1081980 w 9517857"/>
              <a:gd name="connsiteY27" fmla="*/ 738443 h 918344"/>
              <a:gd name="connsiteX28" fmla="*/ 1218120 w 9517857"/>
              <a:gd name="connsiteY28" fmla="*/ 713268 h 918344"/>
              <a:gd name="connsiteX29" fmla="*/ 1397459 w 9517857"/>
              <a:gd name="connsiteY29" fmla="*/ 691178 h 918344"/>
              <a:gd name="connsiteX30" fmla="*/ 1580688 w 9517857"/>
              <a:gd name="connsiteY30" fmla="*/ 693685 h 918344"/>
              <a:gd name="connsiteX31" fmla="*/ 1772334 w 9517857"/>
              <a:gd name="connsiteY31" fmla="*/ 710628 h 918344"/>
              <a:gd name="connsiteX32" fmla="*/ 2002561 w 9517857"/>
              <a:gd name="connsiteY32" fmla="*/ 659905 h 918344"/>
              <a:gd name="connsiteX33" fmla="*/ 2135144 w 9517857"/>
              <a:gd name="connsiteY33" fmla="*/ 636489 h 918344"/>
              <a:gd name="connsiteX34" fmla="*/ 2448505 w 9517857"/>
              <a:gd name="connsiteY34" fmla="*/ 578838 h 918344"/>
              <a:gd name="connsiteX35" fmla="*/ 2658055 w 9517857"/>
              <a:gd name="connsiteY35" fmla="*/ 578715 h 918344"/>
              <a:gd name="connsiteX36" fmla="*/ 2693698 w 9517857"/>
              <a:gd name="connsiteY36" fmla="*/ 560017 h 918344"/>
              <a:gd name="connsiteX37" fmla="*/ 2699673 w 9517857"/>
              <a:gd name="connsiteY37" fmla="*/ 556388 h 918344"/>
              <a:gd name="connsiteX38" fmla="*/ 2727306 w 9517857"/>
              <a:gd name="connsiteY38" fmla="*/ 550686 h 918344"/>
              <a:gd name="connsiteX39" fmla="*/ 2730451 w 9517857"/>
              <a:gd name="connsiteY39" fmla="*/ 538046 h 918344"/>
              <a:gd name="connsiteX40" fmla="*/ 2768713 w 9517857"/>
              <a:gd name="connsiteY40" fmla="*/ 521563 h 918344"/>
              <a:gd name="connsiteX41" fmla="*/ 2820868 w 9517857"/>
              <a:gd name="connsiteY41" fmla="*/ 514148 h 918344"/>
              <a:gd name="connsiteX42" fmla="*/ 3073635 w 9517857"/>
              <a:gd name="connsiteY42" fmla="*/ 491282 h 918344"/>
              <a:gd name="connsiteX43" fmla="*/ 3222071 w 9517857"/>
              <a:gd name="connsiteY43" fmla="*/ 470547 h 918344"/>
              <a:gd name="connsiteX44" fmla="*/ 3274069 w 9517857"/>
              <a:gd name="connsiteY44" fmla="*/ 451593 h 918344"/>
              <a:gd name="connsiteX45" fmla="*/ 3349632 w 9517857"/>
              <a:gd name="connsiteY45" fmla="*/ 432571 h 918344"/>
              <a:gd name="connsiteX46" fmla="*/ 3479593 w 9517857"/>
              <a:gd name="connsiteY46" fmla="*/ 390425 h 918344"/>
              <a:gd name="connsiteX47" fmla="*/ 3750023 w 9517857"/>
              <a:gd name="connsiteY47" fmla="*/ 370666 h 918344"/>
              <a:gd name="connsiteX48" fmla="*/ 3844133 w 9517857"/>
              <a:gd name="connsiteY48" fmla="*/ 360636 h 918344"/>
              <a:gd name="connsiteX49" fmla="*/ 4037701 w 9517857"/>
              <a:gd name="connsiteY49" fmla="*/ 350573 h 918344"/>
              <a:gd name="connsiteX50" fmla="*/ 4266740 w 9517857"/>
              <a:gd name="connsiteY50" fmla="*/ 361442 h 918344"/>
              <a:gd name="connsiteX51" fmla="*/ 4430770 w 9517857"/>
              <a:gd name="connsiteY51" fmla="*/ 342631 h 918344"/>
              <a:gd name="connsiteX52" fmla="*/ 4512664 w 9517857"/>
              <a:gd name="connsiteY52" fmla="*/ 319936 h 918344"/>
              <a:gd name="connsiteX53" fmla="*/ 4616423 w 9517857"/>
              <a:gd name="connsiteY53" fmla="*/ 290902 h 918344"/>
              <a:gd name="connsiteX54" fmla="*/ 4691675 w 9517857"/>
              <a:gd name="connsiteY54" fmla="*/ 253999 h 918344"/>
              <a:gd name="connsiteX55" fmla="*/ 4689051 w 9517857"/>
              <a:gd name="connsiteY55" fmla="*/ 250956 h 918344"/>
              <a:gd name="connsiteX56" fmla="*/ 4719994 w 9517857"/>
              <a:gd name="connsiteY56" fmla="*/ 245295 h 918344"/>
              <a:gd name="connsiteX57" fmla="*/ 4752894 w 9517857"/>
              <a:gd name="connsiteY57" fmla="*/ 239863 h 918344"/>
              <a:gd name="connsiteX58" fmla="*/ 4769329 w 9517857"/>
              <a:gd name="connsiteY58" fmla="*/ 233573 h 918344"/>
              <a:gd name="connsiteX59" fmla="*/ 4775634 w 9517857"/>
              <a:gd name="connsiteY59" fmla="*/ 234051 h 918344"/>
              <a:gd name="connsiteX60" fmla="*/ 4790452 w 9517857"/>
              <a:gd name="connsiteY60" fmla="*/ 233560 h 918344"/>
              <a:gd name="connsiteX61" fmla="*/ 4789062 w 9517857"/>
              <a:gd name="connsiteY61" fmla="*/ 241912 h 918344"/>
              <a:gd name="connsiteX62" fmla="*/ 4827826 w 9517857"/>
              <a:gd name="connsiteY62" fmla="*/ 246965 h 918344"/>
              <a:gd name="connsiteX63" fmla="*/ 4892569 w 9517857"/>
              <a:gd name="connsiteY63" fmla="*/ 249921 h 918344"/>
              <a:gd name="connsiteX64" fmla="*/ 4896611 w 9517857"/>
              <a:gd name="connsiteY64" fmla="*/ 240436 h 918344"/>
              <a:gd name="connsiteX65" fmla="*/ 4917286 w 9517857"/>
              <a:gd name="connsiteY65" fmla="*/ 243647 h 918344"/>
              <a:gd name="connsiteX66" fmla="*/ 5060397 w 9517857"/>
              <a:gd name="connsiteY66" fmla="*/ 263676 h 918344"/>
              <a:gd name="connsiteX67" fmla="*/ 5244719 w 9517857"/>
              <a:gd name="connsiteY67" fmla="*/ 245243 h 918344"/>
              <a:gd name="connsiteX68" fmla="*/ 5358056 w 9517857"/>
              <a:gd name="connsiteY68" fmla="*/ 247236 h 918344"/>
              <a:gd name="connsiteX69" fmla="*/ 5426496 w 9517857"/>
              <a:gd name="connsiteY69" fmla="*/ 235130 h 918344"/>
              <a:gd name="connsiteX70" fmla="*/ 5497161 w 9517857"/>
              <a:gd name="connsiteY70" fmla="*/ 228796 h 918344"/>
              <a:gd name="connsiteX71" fmla="*/ 5923732 w 9517857"/>
              <a:gd name="connsiteY71" fmla="*/ 187376 h 918344"/>
              <a:gd name="connsiteX72" fmla="*/ 6194152 w 9517857"/>
              <a:gd name="connsiteY72" fmla="*/ 151760 h 918344"/>
              <a:gd name="connsiteX73" fmla="*/ 6281379 w 9517857"/>
              <a:gd name="connsiteY73" fmla="*/ 181614 h 918344"/>
              <a:gd name="connsiteX74" fmla="*/ 6374947 w 9517857"/>
              <a:gd name="connsiteY74" fmla="*/ 179787 h 918344"/>
              <a:gd name="connsiteX75" fmla="*/ 6448518 w 9517857"/>
              <a:gd name="connsiteY75" fmla="*/ 164366 h 918344"/>
              <a:gd name="connsiteX76" fmla="*/ 6544700 w 9517857"/>
              <a:gd name="connsiteY76" fmla="*/ 167149 h 918344"/>
              <a:gd name="connsiteX77" fmla="*/ 6648353 w 9517857"/>
              <a:gd name="connsiteY77" fmla="*/ 172238 h 918344"/>
              <a:gd name="connsiteX78" fmla="*/ 6736227 w 9517857"/>
              <a:gd name="connsiteY78" fmla="*/ 173204 h 918344"/>
              <a:gd name="connsiteX79" fmla="*/ 6977218 w 9517857"/>
              <a:gd name="connsiteY79" fmla="*/ 184277 h 918344"/>
              <a:gd name="connsiteX80" fmla="*/ 7065221 w 9517857"/>
              <a:gd name="connsiteY80" fmla="*/ 227519 h 918344"/>
              <a:gd name="connsiteX81" fmla="*/ 7366801 w 9517857"/>
              <a:gd name="connsiteY81" fmla="*/ 258938 h 918344"/>
              <a:gd name="connsiteX82" fmla="*/ 7433745 w 9517857"/>
              <a:gd name="connsiteY82" fmla="*/ 246959 h 918344"/>
              <a:gd name="connsiteX83" fmla="*/ 7644411 w 9517857"/>
              <a:gd name="connsiteY83" fmla="*/ 258974 h 918344"/>
              <a:gd name="connsiteX84" fmla="*/ 7825110 w 9517857"/>
              <a:gd name="connsiteY84" fmla="*/ 229097 h 918344"/>
              <a:gd name="connsiteX85" fmla="*/ 8106016 w 9517857"/>
              <a:gd name="connsiteY85" fmla="*/ 231005 h 918344"/>
              <a:gd name="connsiteX86" fmla="*/ 8256033 w 9517857"/>
              <a:gd name="connsiteY86" fmla="*/ 193701 h 918344"/>
              <a:gd name="connsiteX87" fmla="*/ 8551625 w 9517857"/>
              <a:gd name="connsiteY87" fmla="*/ 161505 h 918344"/>
              <a:gd name="connsiteX88" fmla="*/ 8715976 w 9517857"/>
              <a:gd name="connsiteY88" fmla="*/ 178362 h 918344"/>
              <a:gd name="connsiteX89" fmla="*/ 8778827 w 9517857"/>
              <a:gd name="connsiteY89" fmla="*/ 172924 h 918344"/>
              <a:gd name="connsiteX90" fmla="*/ 8840778 w 9517857"/>
              <a:gd name="connsiteY90" fmla="*/ 143137 h 918344"/>
              <a:gd name="connsiteX91" fmla="*/ 9010380 w 9517857"/>
              <a:gd name="connsiteY91" fmla="*/ 91879 h 918344"/>
              <a:gd name="connsiteX92" fmla="*/ 9110856 w 9517857"/>
              <a:gd name="connsiteY92" fmla="*/ 70985 h 918344"/>
              <a:gd name="connsiteX93" fmla="*/ 9268817 w 9517857"/>
              <a:gd name="connsiteY93" fmla="*/ 53070 h 918344"/>
              <a:gd name="connsiteX94" fmla="*/ 9316667 w 9517857"/>
              <a:gd name="connsiteY94" fmla="*/ 45035 h 918344"/>
              <a:gd name="connsiteX95" fmla="*/ 9428209 w 9517857"/>
              <a:gd name="connsiteY95" fmla="*/ 29911 h 918344"/>
              <a:gd name="connsiteX0" fmla="*/ 4686423 w 9517857"/>
              <a:gd name="connsiteY0" fmla="*/ 247907 h 918344"/>
              <a:gd name="connsiteX1" fmla="*/ 4689051 w 9517857"/>
              <a:gd name="connsiteY1" fmla="*/ 250956 h 918344"/>
              <a:gd name="connsiteX2" fmla="*/ 4687244 w 9517857"/>
              <a:gd name="connsiteY2" fmla="*/ 251286 h 918344"/>
              <a:gd name="connsiteX3" fmla="*/ 4686423 w 9517857"/>
              <a:gd name="connsiteY3" fmla="*/ 247907 h 918344"/>
              <a:gd name="connsiteX4" fmla="*/ 4685225 w 9517857"/>
              <a:gd name="connsiteY4" fmla="*/ 246518 h 918344"/>
              <a:gd name="connsiteX5" fmla="*/ 4686133 w 9517857"/>
              <a:gd name="connsiteY5" fmla="*/ 246715 h 918344"/>
              <a:gd name="connsiteX6" fmla="*/ 4686423 w 9517857"/>
              <a:gd name="connsiteY6" fmla="*/ 247907 h 918344"/>
              <a:gd name="connsiteX7" fmla="*/ 4685225 w 9517857"/>
              <a:gd name="connsiteY7" fmla="*/ 246518 h 918344"/>
              <a:gd name="connsiteX8" fmla="*/ 9428209 w 9517857"/>
              <a:gd name="connsiteY8" fmla="*/ 29911 h 918344"/>
              <a:gd name="connsiteX9" fmla="*/ 9517857 w 9517857"/>
              <a:gd name="connsiteY9" fmla="*/ 0 h 918344"/>
              <a:gd name="connsiteX10" fmla="*/ 9517857 w 9517857"/>
              <a:gd name="connsiteY10" fmla="*/ 918344 h 918344"/>
              <a:gd name="connsiteX11" fmla="*/ 14604 w 9517857"/>
              <a:gd name="connsiteY11" fmla="*/ 918344 h 918344"/>
              <a:gd name="connsiteX12" fmla="*/ 12841 w 9517857"/>
              <a:gd name="connsiteY12" fmla="*/ 917751 h 918344"/>
              <a:gd name="connsiteX13" fmla="*/ 93 w 9517857"/>
              <a:gd name="connsiteY13" fmla="*/ 912459 h 918344"/>
              <a:gd name="connsiteX14" fmla="*/ 58674 w 9517857"/>
              <a:gd name="connsiteY14" fmla="*/ 890310 h 918344"/>
              <a:gd name="connsiteX15" fmla="*/ 275005 w 9517857"/>
              <a:gd name="connsiteY15" fmla="*/ 807217 h 918344"/>
              <a:gd name="connsiteX16" fmla="*/ 587824 w 9517857"/>
              <a:gd name="connsiteY16" fmla="*/ 798183 h 918344"/>
              <a:gd name="connsiteX17" fmla="*/ 651826 w 9517857"/>
              <a:gd name="connsiteY17" fmla="*/ 738326 h 918344"/>
              <a:gd name="connsiteX18" fmla="*/ 727985 w 9517857"/>
              <a:gd name="connsiteY18" fmla="*/ 719814 h 918344"/>
              <a:gd name="connsiteX19" fmla="*/ 778982 w 9517857"/>
              <a:gd name="connsiteY19" fmla="*/ 710130 h 918344"/>
              <a:gd name="connsiteX20" fmla="*/ 849944 w 9517857"/>
              <a:gd name="connsiteY20" fmla="*/ 717975 h 918344"/>
              <a:gd name="connsiteX21" fmla="*/ 921659 w 9517857"/>
              <a:gd name="connsiteY21" fmla="*/ 712683 h 918344"/>
              <a:gd name="connsiteX22" fmla="*/ 930946 w 9517857"/>
              <a:gd name="connsiteY22" fmla="*/ 734034 h 918344"/>
              <a:gd name="connsiteX23" fmla="*/ 986250 w 9517857"/>
              <a:gd name="connsiteY23" fmla="*/ 713518 h 918344"/>
              <a:gd name="connsiteX24" fmla="*/ 1013752 w 9517857"/>
              <a:gd name="connsiteY24" fmla="*/ 713349 h 918344"/>
              <a:gd name="connsiteX25" fmla="*/ 1023734 w 9517857"/>
              <a:gd name="connsiteY25" fmla="*/ 718559 h 918344"/>
              <a:gd name="connsiteX26" fmla="*/ 1063207 w 9517857"/>
              <a:gd name="connsiteY26" fmla="*/ 715639 h 918344"/>
              <a:gd name="connsiteX27" fmla="*/ 1081980 w 9517857"/>
              <a:gd name="connsiteY27" fmla="*/ 738443 h 918344"/>
              <a:gd name="connsiteX28" fmla="*/ 1218120 w 9517857"/>
              <a:gd name="connsiteY28" fmla="*/ 713268 h 918344"/>
              <a:gd name="connsiteX29" fmla="*/ 1397459 w 9517857"/>
              <a:gd name="connsiteY29" fmla="*/ 691178 h 918344"/>
              <a:gd name="connsiteX30" fmla="*/ 1580688 w 9517857"/>
              <a:gd name="connsiteY30" fmla="*/ 693685 h 918344"/>
              <a:gd name="connsiteX31" fmla="*/ 1772334 w 9517857"/>
              <a:gd name="connsiteY31" fmla="*/ 710628 h 918344"/>
              <a:gd name="connsiteX32" fmla="*/ 2002561 w 9517857"/>
              <a:gd name="connsiteY32" fmla="*/ 659905 h 918344"/>
              <a:gd name="connsiteX33" fmla="*/ 2135144 w 9517857"/>
              <a:gd name="connsiteY33" fmla="*/ 636489 h 918344"/>
              <a:gd name="connsiteX34" fmla="*/ 2448505 w 9517857"/>
              <a:gd name="connsiteY34" fmla="*/ 578838 h 918344"/>
              <a:gd name="connsiteX35" fmla="*/ 2658055 w 9517857"/>
              <a:gd name="connsiteY35" fmla="*/ 578715 h 918344"/>
              <a:gd name="connsiteX36" fmla="*/ 2693698 w 9517857"/>
              <a:gd name="connsiteY36" fmla="*/ 560017 h 918344"/>
              <a:gd name="connsiteX37" fmla="*/ 2699673 w 9517857"/>
              <a:gd name="connsiteY37" fmla="*/ 556388 h 918344"/>
              <a:gd name="connsiteX38" fmla="*/ 2727306 w 9517857"/>
              <a:gd name="connsiteY38" fmla="*/ 550686 h 918344"/>
              <a:gd name="connsiteX39" fmla="*/ 2730451 w 9517857"/>
              <a:gd name="connsiteY39" fmla="*/ 538046 h 918344"/>
              <a:gd name="connsiteX40" fmla="*/ 2768713 w 9517857"/>
              <a:gd name="connsiteY40" fmla="*/ 521563 h 918344"/>
              <a:gd name="connsiteX41" fmla="*/ 2820868 w 9517857"/>
              <a:gd name="connsiteY41" fmla="*/ 514148 h 918344"/>
              <a:gd name="connsiteX42" fmla="*/ 3073635 w 9517857"/>
              <a:gd name="connsiteY42" fmla="*/ 491282 h 918344"/>
              <a:gd name="connsiteX43" fmla="*/ 3222071 w 9517857"/>
              <a:gd name="connsiteY43" fmla="*/ 470547 h 918344"/>
              <a:gd name="connsiteX44" fmla="*/ 3274069 w 9517857"/>
              <a:gd name="connsiteY44" fmla="*/ 451593 h 918344"/>
              <a:gd name="connsiteX45" fmla="*/ 3349632 w 9517857"/>
              <a:gd name="connsiteY45" fmla="*/ 432571 h 918344"/>
              <a:gd name="connsiteX46" fmla="*/ 3479593 w 9517857"/>
              <a:gd name="connsiteY46" fmla="*/ 390425 h 918344"/>
              <a:gd name="connsiteX47" fmla="*/ 3750023 w 9517857"/>
              <a:gd name="connsiteY47" fmla="*/ 370666 h 918344"/>
              <a:gd name="connsiteX48" fmla="*/ 3844133 w 9517857"/>
              <a:gd name="connsiteY48" fmla="*/ 360636 h 918344"/>
              <a:gd name="connsiteX49" fmla="*/ 4037701 w 9517857"/>
              <a:gd name="connsiteY49" fmla="*/ 350573 h 918344"/>
              <a:gd name="connsiteX50" fmla="*/ 4266740 w 9517857"/>
              <a:gd name="connsiteY50" fmla="*/ 361442 h 918344"/>
              <a:gd name="connsiteX51" fmla="*/ 4430770 w 9517857"/>
              <a:gd name="connsiteY51" fmla="*/ 342631 h 918344"/>
              <a:gd name="connsiteX52" fmla="*/ 4512664 w 9517857"/>
              <a:gd name="connsiteY52" fmla="*/ 319936 h 918344"/>
              <a:gd name="connsiteX53" fmla="*/ 4616423 w 9517857"/>
              <a:gd name="connsiteY53" fmla="*/ 290902 h 918344"/>
              <a:gd name="connsiteX54" fmla="*/ 4691675 w 9517857"/>
              <a:gd name="connsiteY54" fmla="*/ 253999 h 918344"/>
              <a:gd name="connsiteX55" fmla="*/ 4689051 w 9517857"/>
              <a:gd name="connsiteY55" fmla="*/ 250956 h 918344"/>
              <a:gd name="connsiteX56" fmla="*/ 4719994 w 9517857"/>
              <a:gd name="connsiteY56" fmla="*/ 245295 h 918344"/>
              <a:gd name="connsiteX57" fmla="*/ 4752894 w 9517857"/>
              <a:gd name="connsiteY57" fmla="*/ 239863 h 918344"/>
              <a:gd name="connsiteX58" fmla="*/ 4769329 w 9517857"/>
              <a:gd name="connsiteY58" fmla="*/ 233573 h 918344"/>
              <a:gd name="connsiteX59" fmla="*/ 4775634 w 9517857"/>
              <a:gd name="connsiteY59" fmla="*/ 234051 h 918344"/>
              <a:gd name="connsiteX60" fmla="*/ 4790452 w 9517857"/>
              <a:gd name="connsiteY60" fmla="*/ 233560 h 918344"/>
              <a:gd name="connsiteX61" fmla="*/ 4789062 w 9517857"/>
              <a:gd name="connsiteY61" fmla="*/ 241912 h 918344"/>
              <a:gd name="connsiteX62" fmla="*/ 4827826 w 9517857"/>
              <a:gd name="connsiteY62" fmla="*/ 246965 h 918344"/>
              <a:gd name="connsiteX63" fmla="*/ 4892569 w 9517857"/>
              <a:gd name="connsiteY63" fmla="*/ 249921 h 918344"/>
              <a:gd name="connsiteX64" fmla="*/ 4896611 w 9517857"/>
              <a:gd name="connsiteY64" fmla="*/ 240436 h 918344"/>
              <a:gd name="connsiteX65" fmla="*/ 4917286 w 9517857"/>
              <a:gd name="connsiteY65" fmla="*/ 243647 h 918344"/>
              <a:gd name="connsiteX66" fmla="*/ 5060397 w 9517857"/>
              <a:gd name="connsiteY66" fmla="*/ 263676 h 918344"/>
              <a:gd name="connsiteX67" fmla="*/ 5244719 w 9517857"/>
              <a:gd name="connsiteY67" fmla="*/ 245243 h 918344"/>
              <a:gd name="connsiteX68" fmla="*/ 5358056 w 9517857"/>
              <a:gd name="connsiteY68" fmla="*/ 247236 h 918344"/>
              <a:gd name="connsiteX69" fmla="*/ 5426496 w 9517857"/>
              <a:gd name="connsiteY69" fmla="*/ 235130 h 918344"/>
              <a:gd name="connsiteX70" fmla="*/ 5497161 w 9517857"/>
              <a:gd name="connsiteY70" fmla="*/ 228796 h 918344"/>
              <a:gd name="connsiteX71" fmla="*/ 5923732 w 9517857"/>
              <a:gd name="connsiteY71" fmla="*/ 187376 h 918344"/>
              <a:gd name="connsiteX72" fmla="*/ 6194152 w 9517857"/>
              <a:gd name="connsiteY72" fmla="*/ 151760 h 918344"/>
              <a:gd name="connsiteX73" fmla="*/ 6281379 w 9517857"/>
              <a:gd name="connsiteY73" fmla="*/ 181614 h 918344"/>
              <a:gd name="connsiteX74" fmla="*/ 6374947 w 9517857"/>
              <a:gd name="connsiteY74" fmla="*/ 179787 h 918344"/>
              <a:gd name="connsiteX75" fmla="*/ 6448518 w 9517857"/>
              <a:gd name="connsiteY75" fmla="*/ 164366 h 918344"/>
              <a:gd name="connsiteX76" fmla="*/ 6544700 w 9517857"/>
              <a:gd name="connsiteY76" fmla="*/ 167149 h 918344"/>
              <a:gd name="connsiteX77" fmla="*/ 6648353 w 9517857"/>
              <a:gd name="connsiteY77" fmla="*/ 172238 h 918344"/>
              <a:gd name="connsiteX78" fmla="*/ 6736227 w 9517857"/>
              <a:gd name="connsiteY78" fmla="*/ 173204 h 918344"/>
              <a:gd name="connsiteX79" fmla="*/ 6977218 w 9517857"/>
              <a:gd name="connsiteY79" fmla="*/ 184277 h 918344"/>
              <a:gd name="connsiteX80" fmla="*/ 7065221 w 9517857"/>
              <a:gd name="connsiteY80" fmla="*/ 227519 h 918344"/>
              <a:gd name="connsiteX81" fmla="*/ 7366801 w 9517857"/>
              <a:gd name="connsiteY81" fmla="*/ 258938 h 918344"/>
              <a:gd name="connsiteX82" fmla="*/ 7433745 w 9517857"/>
              <a:gd name="connsiteY82" fmla="*/ 246959 h 918344"/>
              <a:gd name="connsiteX83" fmla="*/ 7644411 w 9517857"/>
              <a:gd name="connsiteY83" fmla="*/ 258974 h 918344"/>
              <a:gd name="connsiteX84" fmla="*/ 7825110 w 9517857"/>
              <a:gd name="connsiteY84" fmla="*/ 229097 h 918344"/>
              <a:gd name="connsiteX85" fmla="*/ 8106016 w 9517857"/>
              <a:gd name="connsiteY85" fmla="*/ 231005 h 918344"/>
              <a:gd name="connsiteX86" fmla="*/ 8256033 w 9517857"/>
              <a:gd name="connsiteY86" fmla="*/ 193701 h 918344"/>
              <a:gd name="connsiteX87" fmla="*/ 8551625 w 9517857"/>
              <a:gd name="connsiteY87" fmla="*/ 161505 h 918344"/>
              <a:gd name="connsiteX88" fmla="*/ 8715976 w 9517857"/>
              <a:gd name="connsiteY88" fmla="*/ 178362 h 918344"/>
              <a:gd name="connsiteX89" fmla="*/ 8778827 w 9517857"/>
              <a:gd name="connsiteY89" fmla="*/ 172924 h 918344"/>
              <a:gd name="connsiteX90" fmla="*/ 8840778 w 9517857"/>
              <a:gd name="connsiteY90" fmla="*/ 143137 h 918344"/>
              <a:gd name="connsiteX91" fmla="*/ 9010380 w 9517857"/>
              <a:gd name="connsiteY91" fmla="*/ 91879 h 918344"/>
              <a:gd name="connsiteX92" fmla="*/ 9110856 w 9517857"/>
              <a:gd name="connsiteY92" fmla="*/ 70985 h 918344"/>
              <a:gd name="connsiteX93" fmla="*/ 9268817 w 9517857"/>
              <a:gd name="connsiteY93" fmla="*/ 53070 h 918344"/>
              <a:gd name="connsiteX94" fmla="*/ 9316667 w 9517857"/>
              <a:gd name="connsiteY94" fmla="*/ 45035 h 918344"/>
              <a:gd name="connsiteX95" fmla="*/ 9428209 w 9517857"/>
              <a:gd name="connsiteY95" fmla="*/ 29911 h 918344"/>
              <a:gd name="connsiteX0" fmla="*/ 4686423 w 9517857"/>
              <a:gd name="connsiteY0" fmla="*/ 247907 h 918344"/>
              <a:gd name="connsiteX1" fmla="*/ 4689051 w 9517857"/>
              <a:gd name="connsiteY1" fmla="*/ 250956 h 918344"/>
              <a:gd name="connsiteX2" fmla="*/ 4687244 w 9517857"/>
              <a:gd name="connsiteY2" fmla="*/ 251286 h 918344"/>
              <a:gd name="connsiteX3" fmla="*/ 4686423 w 9517857"/>
              <a:gd name="connsiteY3" fmla="*/ 247907 h 918344"/>
              <a:gd name="connsiteX4" fmla="*/ 4685225 w 9517857"/>
              <a:gd name="connsiteY4" fmla="*/ 246518 h 918344"/>
              <a:gd name="connsiteX5" fmla="*/ 4686133 w 9517857"/>
              <a:gd name="connsiteY5" fmla="*/ 246715 h 918344"/>
              <a:gd name="connsiteX6" fmla="*/ 4686423 w 9517857"/>
              <a:gd name="connsiteY6" fmla="*/ 247907 h 918344"/>
              <a:gd name="connsiteX7" fmla="*/ 4685225 w 9517857"/>
              <a:gd name="connsiteY7" fmla="*/ 246518 h 918344"/>
              <a:gd name="connsiteX8" fmla="*/ 9428209 w 9517857"/>
              <a:gd name="connsiteY8" fmla="*/ 29911 h 918344"/>
              <a:gd name="connsiteX9" fmla="*/ 9517857 w 9517857"/>
              <a:gd name="connsiteY9" fmla="*/ 0 h 918344"/>
              <a:gd name="connsiteX10" fmla="*/ 9517857 w 9517857"/>
              <a:gd name="connsiteY10" fmla="*/ 918344 h 918344"/>
              <a:gd name="connsiteX11" fmla="*/ 14604 w 9517857"/>
              <a:gd name="connsiteY11" fmla="*/ 918344 h 918344"/>
              <a:gd name="connsiteX12" fmla="*/ 12841 w 9517857"/>
              <a:gd name="connsiteY12" fmla="*/ 917751 h 918344"/>
              <a:gd name="connsiteX13" fmla="*/ 93 w 9517857"/>
              <a:gd name="connsiteY13" fmla="*/ 912459 h 918344"/>
              <a:gd name="connsiteX14" fmla="*/ 58674 w 9517857"/>
              <a:gd name="connsiteY14" fmla="*/ 890310 h 918344"/>
              <a:gd name="connsiteX15" fmla="*/ 275005 w 9517857"/>
              <a:gd name="connsiteY15" fmla="*/ 807217 h 918344"/>
              <a:gd name="connsiteX16" fmla="*/ 587824 w 9517857"/>
              <a:gd name="connsiteY16" fmla="*/ 798183 h 918344"/>
              <a:gd name="connsiteX17" fmla="*/ 651826 w 9517857"/>
              <a:gd name="connsiteY17" fmla="*/ 738326 h 918344"/>
              <a:gd name="connsiteX18" fmla="*/ 727985 w 9517857"/>
              <a:gd name="connsiteY18" fmla="*/ 719814 h 918344"/>
              <a:gd name="connsiteX19" fmla="*/ 778982 w 9517857"/>
              <a:gd name="connsiteY19" fmla="*/ 710130 h 918344"/>
              <a:gd name="connsiteX20" fmla="*/ 849944 w 9517857"/>
              <a:gd name="connsiteY20" fmla="*/ 717975 h 918344"/>
              <a:gd name="connsiteX21" fmla="*/ 921659 w 9517857"/>
              <a:gd name="connsiteY21" fmla="*/ 712683 h 918344"/>
              <a:gd name="connsiteX22" fmla="*/ 930946 w 9517857"/>
              <a:gd name="connsiteY22" fmla="*/ 734034 h 918344"/>
              <a:gd name="connsiteX23" fmla="*/ 986250 w 9517857"/>
              <a:gd name="connsiteY23" fmla="*/ 713518 h 918344"/>
              <a:gd name="connsiteX24" fmla="*/ 1013752 w 9517857"/>
              <a:gd name="connsiteY24" fmla="*/ 713349 h 918344"/>
              <a:gd name="connsiteX25" fmla="*/ 1023734 w 9517857"/>
              <a:gd name="connsiteY25" fmla="*/ 718559 h 918344"/>
              <a:gd name="connsiteX26" fmla="*/ 1063207 w 9517857"/>
              <a:gd name="connsiteY26" fmla="*/ 715639 h 918344"/>
              <a:gd name="connsiteX27" fmla="*/ 1081980 w 9517857"/>
              <a:gd name="connsiteY27" fmla="*/ 738443 h 918344"/>
              <a:gd name="connsiteX28" fmla="*/ 1218120 w 9517857"/>
              <a:gd name="connsiteY28" fmla="*/ 713268 h 918344"/>
              <a:gd name="connsiteX29" fmla="*/ 1397459 w 9517857"/>
              <a:gd name="connsiteY29" fmla="*/ 691178 h 918344"/>
              <a:gd name="connsiteX30" fmla="*/ 1580688 w 9517857"/>
              <a:gd name="connsiteY30" fmla="*/ 693685 h 918344"/>
              <a:gd name="connsiteX31" fmla="*/ 1772334 w 9517857"/>
              <a:gd name="connsiteY31" fmla="*/ 710628 h 918344"/>
              <a:gd name="connsiteX32" fmla="*/ 2002561 w 9517857"/>
              <a:gd name="connsiteY32" fmla="*/ 659905 h 918344"/>
              <a:gd name="connsiteX33" fmla="*/ 2135144 w 9517857"/>
              <a:gd name="connsiteY33" fmla="*/ 636489 h 918344"/>
              <a:gd name="connsiteX34" fmla="*/ 2448505 w 9517857"/>
              <a:gd name="connsiteY34" fmla="*/ 578838 h 918344"/>
              <a:gd name="connsiteX35" fmla="*/ 2658055 w 9517857"/>
              <a:gd name="connsiteY35" fmla="*/ 578715 h 918344"/>
              <a:gd name="connsiteX36" fmla="*/ 2693698 w 9517857"/>
              <a:gd name="connsiteY36" fmla="*/ 560017 h 918344"/>
              <a:gd name="connsiteX37" fmla="*/ 2699673 w 9517857"/>
              <a:gd name="connsiteY37" fmla="*/ 556388 h 918344"/>
              <a:gd name="connsiteX38" fmla="*/ 2727306 w 9517857"/>
              <a:gd name="connsiteY38" fmla="*/ 550686 h 918344"/>
              <a:gd name="connsiteX39" fmla="*/ 2730451 w 9517857"/>
              <a:gd name="connsiteY39" fmla="*/ 538046 h 918344"/>
              <a:gd name="connsiteX40" fmla="*/ 2768713 w 9517857"/>
              <a:gd name="connsiteY40" fmla="*/ 521563 h 918344"/>
              <a:gd name="connsiteX41" fmla="*/ 2820868 w 9517857"/>
              <a:gd name="connsiteY41" fmla="*/ 514148 h 918344"/>
              <a:gd name="connsiteX42" fmla="*/ 3073635 w 9517857"/>
              <a:gd name="connsiteY42" fmla="*/ 491282 h 918344"/>
              <a:gd name="connsiteX43" fmla="*/ 3222071 w 9517857"/>
              <a:gd name="connsiteY43" fmla="*/ 470547 h 918344"/>
              <a:gd name="connsiteX44" fmla="*/ 3274069 w 9517857"/>
              <a:gd name="connsiteY44" fmla="*/ 451593 h 918344"/>
              <a:gd name="connsiteX45" fmla="*/ 3349632 w 9517857"/>
              <a:gd name="connsiteY45" fmla="*/ 432571 h 918344"/>
              <a:gd name="connsiteX46" fmla="*/ 3479593 w 9517857"/>
              <a:gd name="connsiteY46" fmla="*/ 390425 h 918344"/>
              <a:gd name="connsiteX47" fmla="*/ 3750023 w 9517857"/>
              <a:gd name="connsiteY47" fmla="*/ 370666 h 918344"/>
              <a:gd name="connsiteX48" fmla="*/ 3844133 w 9517857"/>
              <a:gd name="connsiteY48" fmla="*/ 360636 h 918344"/>
              <a:gd name="connsiteX49" fmla="*/ 4037701 w 9517857"/>
              <a:gd name="connsiteY49" fmla="*/ 350573 h 918344"/>
              <a:gd name="connsiteX50" fmla="*/ 4266740 w 9517857"/>
              <a:gd name="connsiteY50" fmla="*/ 361442 h 918344"/>
              <a:gd name="connsiteX51" fmla="*/ 4430770 w 9517857"/>
              <a:gd name="connsiteY51" fmla="*/ 342631 h 918344"/>
              <a:gd name="connsiteX52" fmla="*/ 4512664 w 9517857"/>
              <a:gd name="connsiteY52" fmla="*/ 319936 h 918344"/>
              <a:gd name="connsiteX53" fmla="*/ 4616423 w 9517857"/>
              <a:gd name="connsiteY53" fmla="*/ 290902 h 918344"/>
              <a:gd name="connsiteX54" fmla="*/ 4691675 w 9517857"/>
              <a:gd name="connsiteY54" fmla="*/ 253999 h 918344"/>
              <a:gd name="connsiteX55" fmla="*/ 4689051 w 9517857"/>
              <a:gd name="connsiteY55" fmla="*/ 250956 h 918344"/>
              <a:gd name="connsiteX56" fmla="*/ 4719994 w 9517857"/>
              <a:gd name="connsiteY56" fmla="*/ 245295 h 918344"/>
              <a:gd name="connsiteX57" fmla="*/ 4752894 w 9517857"/>
              <a:gd name="connsiteY57" fmla="*/ 239863 h 918344"/>
              <a:gd name="connsiteX58" fmla="*/ 4769329 w 9517857"/>
              <a:gd name="connsiteY58" fmla="*/ 233573 h 918344"/>
              <a:gd name="connsiteX59" fmla="*/ 4775634 w 9517857"/>
              <a:gd name="connsiteY59" fmla="*/ 234051 h 918344"/>
              <a:gd name="connsiteX60" fmla="*/ 4790452 w 9517857"/>
              <a:gd name="connsiteY60" fmla="*/ 233560 h 918344"/>
              <a:gd name="connsiteX61" fmla="*/ 4789062 w 9517857"/>
              <a:gd name="connsiteY61" fmla="*/ 241912 h 918344"/>
              <a:gd name="connsiteX62" fmla="*/ 4827826 w 9517857"/>
              <a:gd name="connsiteY62" fmla="*/ 246965 h 918344"/>
              <a:gd name="connsiteX63" fmla="*/ 4892569 w 9517857"/>
              <a:gd name="connsiteY63" fmla="*/ 249921 h 918344"/>
              <a:gd name="connsiteX64" fmla="*/ 4896611 w 9517857"/>
              <a:gd name="connsiteY64" fmla="*/ 240436 h 918344"/>
              <a:gd name="connsiteX65" fmla="*/ 4917286 w 9517857"/>
              <a:gd name="connsiteY65" fmla="*/ 243647 h 918344"/>
              <a:gd name="connsiteX66" fmla="*/ 5060397 w 9517857"/>
              <a:gd name="connsiteY66" fmla="*/ 263676 h 918344"/>
              <a:gd name="connsiteX67" fmla="*/ 5244719 w 9517857"/>
              <a:gd name="connsiteY67" fmla="*/ 245243 h 918344"/>
              <a:gd name="connsiteX68" fmla="*/ 5358056 w 9517857"/>
              <a:gd name="connsiteY68" fmla="*/ 247236 h 918344"/>
              <a:gd name="connsiteX69" fmla="*/ 5426496 w 9517857"/>
              <a:gd name="connsiteY69" fmla="*/ 235130 h 918344"/>
              <a:gd name="connsiteX70" fmla="*/ 5497161 w 9517857"/>
              <a:gd name="connsiteY70" fmla="*/ 228796 h 918344"/>
              <a:gd name="connsiteX71" fmla="*/ 5923732 w 9517857"/>
              <a:gd name="connsiteY71" fmla="*/ 187376 h 918344"/>
              <a:gd name="connsiteX72" fmla="*/ 6194152 w 9517857"/>
              <a:gd name="connsiteY72" fmla="*/ 151760 h 918344"/>
              <a:gd name="connsiteX73" fmla="*/ 6281379 w 9517857"/>
              <a:gd name="connsiteY73" fmla="*/ 181614 h 918344"/>
              <a:gd name="connsiteX74" fmla="*/ 6374947 w 9517857"/>
              <a:gd name="connsiteY74" fmla="*/ 179787 h 918344"/>
              <a:gd name="connsiteX75" fmla="*/ 6448518 w 9517857"/>
              <a:gd name="connsiteY75" fmla="*/ 164366 h 918344"/>
              <a:gd name="connsiteX76" fmla="*/ 6544700 w 9517857"/>
              <a:gd name="connsiteY76" fmla="*/ 167149 h 918344"/>
              <a:gd name="connsiteX77" fmla="*/ 6648353 w 9517857"/>
              <a:gd name="connsiteY77" fmla="*/ 172238 h 918344"/>
              <a:gd name="connsiteX78" fmla="*/ 6736227 w 9517857"/>
              <a:gd name="connsiteY78" fmla="*/ 173204 h 918344"/>
              <a:gd name="connsiteX79" fmla="*/ 6977218 w 9517857"/>
              <a:gd name="connsiteY79" fmla="*/ 184277 h 918344"/>
              <a:gd name="connsiteX80" fmla="*/ 7065221 w 9517857"/>
              <a:gd name="connsiteY80" fmla="*/ 227519 h 918344"/>
              <a:gd name="connsiteX81" fmla="*/ 7366801 w 9517857"/>
              <a:gd name="connsiteY81" fmla="*/ 258938 h 918344"/>
              <a:gd name="connsiteX82" fmla="*/ 7433745 w 9517857"/>
              <a:gd name="connsiteY82" fmla="*/ 246959 h 918344"/>
              <a:gd name="connsiteX83" fmla="*/ 7644411 w 9517857"/>
              <a:gd name="connsiteY83" fmla="*/ 258974 h 918344"/>
              <a:gd name="connsiteX84" fmla="*/ 7825110 w 9517857"/>
              <a:gd name="connsiteY84" fmla="*/ 229097 h 918344"/>
              <a:gd name="connsiteX85" fmla="*/ 8106016 w 9517857"/>
              <a:gd name="connsiteY85" fmla="*/ 231005 h 918344"/>
              <a:gd name="connsiteX86" fmla="*/ 8256033 w 9517857"/>
              <a:gd name="connsiteY86" fmla="*/ 193701 h 918344"/>
              <a:gd name="connsiteX87" fmla="*/ 8551625 w 9517857"/>
              <a:gd name="connsiteY87" fmla="*/ 161505 h 918344"/>
              <a:gd name="connsiteX88" fmla="*/ 8715976 w 9517857"/>
              <a:gd name="connsiteY88" fmla="*/ 178362 h 918344"/>
              <a:gd name="connsiteX89" fmla="*/ 8840778 w 9517857"/>
              <a:gd name="connsiteY89" fmla="*/ 143137 h 918344"/>
              <a:gd name="connsiteX90" fmla="*/ 9010380 w 9517857"/>
              <a:gd name="connsiteY90" fmla="*/ 91879 h 918344"/>
              <a:gd name="connsiteX91" fmla="*/ 9110856 w 9517857"/>
              <a:gd name="connsiteY91" fmla="*/ 70985 h 918344"/>
              <a:gd name="connsiteX92" fmla="*/ 9268817 w 9517857"/>
              <a:gd name="connsiteY92" fmla="*/ 53070 h 918344"/>
              <a:gd name="connsiteX93" fmla="*/ 9316667 w 9517857"/>
              <a:gd name="connsiteY93" fmla="*/ 45035 h 918344"/>
              <a:gd name="connsiteX94" fmla="*/ 9428209 w 9517857"/>
              <a:gd name="connsiteY94" fmla="*/ 29911 h 918344"/>
              <a:gd name="connsiteX0" fmla="*/ 4686423 w 9517857"/>
              <a:gd name="connsiteY0" fmla="*/ 247907 h 918344"/>
              <a:gd name="connsiteX1" fmla="*/ 4689051 w 9517857"/>
              <a:gd name="connsiteY1" fmla="*/ 250956 h 918344"/>
              <a:gd name="connsiteX2" fmla="*/ 4687244 w 9517857"/>
              <a:gd name="connsiteY2" fmla="*/ 251286 h 918344"/>
              <a:gd name="connsiteX3" fmla="*/ 4686423 w 9517857"/>
              <a:gd name="connsiteY3" fmla="*/ 247907 h 918344"/>
              <a:gd name="connsiteX4" fmla="*/ 4685225 w 9517857"/>
              <a:gd name="connsiteY4" fmla="*/ 246518 h 918344"/>
              <a:gd name="connsiteX5" fmla="*/ 4686133 w 9517857"/>
              <a:gd name="connsiteY5" fmla="*/ 246715 h 918344"/>
              <a:gd name="connsiteX6" fmla="*/ 4686423 w 9517857"/>
              <a:gd name="connsiteY6" fmla="*/ 247907 h 918344"/>
              <a:gd name="connsiteX7" fmla="*/ 4685225 w 9517857"/>
              <a:gd name="connsiteY7" fmla="*/ 246518 h 918344"/>
              <a:gd name="connsiteX8" fmla="*/ 9428209 w 9517857"/>
              <a:gd name="connsiteY8" fmla="*/ 29911 h 918344"/>
              <a:gd name="connsiteX9" fmla="*/ 9517857 w 9517857"/>
              <a:gd name="connsiteY9" fmla="*/ 0 h 918344"/>
              <a:gd name="connsiteX10" fmla="*/ 9517857 w 9517857"/>
              <a:gd name="connsiteY10" fmla="*/ 918344 h 918344"/>
              <a:gd name="connsiteX11" fmla="*/ 14604 w 9517857"/>
              <a:gd name="connsiteY11" fmla="*/ 918344 h 918344"/>
              <a:gd name="connsiteX12" fmla="*/ 12841 w 9517857"/>
              <a:gd name="connsiteY12" fmla="*/ 917751 h 918344"/>
              <a:gd name="connsiteX13" fmla="*/ 93 w 9517857"/>
              <a:gd name="connsiteY13" fmla="*/ 912459 h 918344"/>
              <a:gd name="connsiteX14" fmla="*/ 58674 w 9517857"/>
              <a:gd name="connsiteY14" fmla="*/ 890310 h 918344"/>
              <a:gd name="connsiteX15" fmla="*/ 275005 w 9517857"/>
              <a:gd name="connsiteY15" fmla="*/ 807217 h 918344"/>
              <a:gd name="connsiteX16" fmla="*/ 587824 w 9517857"/>
              <a:gd name="connsiteY16" fmla="*/ 798183 h 918344"/>
              <a:gd name="connsiteX17" fmla="*/ 651826 w 9517857"/>
              <a:gd name="connsiteY17" fmla="*/ 738326 h 918344"/>
              <a:gd name="connsiteX18" fmla="*/ 727985 w 9517857"/>
              <a:gd name="connsiteY18" fmla="*/ 719814 h 918344"/>
              <a:gd name="connsiteX19" fmla="*/ 778982 w 9517857"/>
              <a:gd name="connsiteY19" fmla="*/ 710130 h 918344"/>
              <a:gd name="connsiteX20" fmla="*/ 849944 w 9517857"/>
              <a:gd name="connsiteY20" fmla="*/ 717975 h 918344"/>
              <a:gd name="connsiteX21" fmla="*/ 921659 w 9517857"/>
              <a:gd name="connsiteY21" fmla="*/ 712683 h 918344"/>
              <a:gd name="connsiteX22" fmla="*/ 930946 w 9517857"/>
              <a:gd name="connsiteY22" fmla="*/ 734034 h 918344"/>
              <a:gd name="connsiteX23" fmla="*/ 986250 w 9517857"/>
              <a:gd name="connsiteY23" fmla="*/ 713518 h 918344"/>
              <a:gd name="connsiteX24" fmla="*/ 1013752 w 9517857"/>
              <a:gd name="connsiteY24" fmla="*/ 713349 h 918344"/>
              <a:gd name="connsiteX25" fmla="*/ 1023734 w 9517857"/>
              <a:gd name="connsiteY25" fmla="*/ 718559 h 918344"/>
              <a:gd name="connsiteX26" fmla="*/ 1063207 w 9517857"/>
              <a:gd name="connsiteY26" fmla="*/ 715639 h 918344"/>
              <a:gd name="connsiteX27" fmla="*/ 1081980 w 9517857"/>
              <a:gd name="connsiteY27" fmla="*/ 738443 h 918344"/>
              <a:gd name="connsiteX28" fmla="*/ 1218120 w 9517857"/>
              <a:gd name="connsiteY28" fmla="*/ 713268 h 918344"/>
              <a:gd name="connsiteX29" fmla="*/ 1397459 w 9517857"/>
              <a:gd name="connsiteY29" fmla="*/ 691178 h 918344"/>
              <a:gd name="connsiteX30" fmla="*/ 1580688 w 9517857"/>
              <a:gd name="connsiteY30" fmla="*/ 693685 h 918344"/>
              <a:gd name="connsiteX31" fmla="*/ 1772334 w 9517857"/>
              <a:gd name="connsiteY31" fmla="*/ 710628 h 918344"/>
              <a:gd name="connsiteX32" fmla="*/ 2002561 w 9517857"/>
              <a:gd name="connsiteY32" fmla="*/ 659905 h 918344"/>
              <a:gd name="connsiteX33" fmla="*/ 2135144 w 9517857"/>
              <a:gd name="connsiteY33" fmla="*/ 636489 h 918344"/>
              <a:gd name="connsiteX34" fmla="*/ 2448505 w 9517857"/>
              <a:gd name="connsiteY34" fmla="*/ 578838 h 918344"/>
              <a:gd name="connsiteX35" fmla="*/ 2658055 w 9517857"/>
              <a:gd name="connsiteY35" fmla="*/ 578715 h 918344"/>
              <a:gd name="connsiteX36" fmla="*/ 2693698 w 9517857"/>
              <a:gd name="connsiteY36" fmla="*/ 560017 h 918344"/>
              <a:gd name="connsiteX37" fmla="*/ 2699673 w 9517857"/>
              <a:gd name="connsiteY37" fmla="*/ 556388 h 918344"/>
              <a:gd name="connsiteX38" fmla="*/ 2727306 w 9517857"/>
              <a:gd name="connsiteY38" fmla="*/ 550686 h 918344"/>
              <a:gd name="connsiteX39" fmla="*/ 2730451 w 9517857"/>
              <a:gd name="connsiteY39" fmla="*/ 538046 h 918344"/>
              <a:gd name="connsiteX40" fmla="*/ 2768713 w 9517857"/>
              <a:gd name="connsiteY40" fmla="*/ 521563 h 918344"/>
              <a:gd name="connsiteX41" fmla="*/ 2820868 w 9517857"/>
              <a:gd name="connsiteY41" fmla="*/ 514148 h 918344"/>
              <a:gd name="connsiteX42" fmla="*/ 3073635 w 9517857"/>
              <a:gd name="connsiteY42" fmla="*/ 491282 h 918344"/>
              <a:gd name="connsiteX43" fmla="*/ 3222071 w 9517857"/>
              <a:gd name="connsiteY43" fmla="*/ 470547 h 918344"/>
              <a:gd name="connsiteX44" fmla="*/ 3274069 w 9517857"/>
              <a:gd name="connsiteY44" fmla="*/ 451593 h 918344"/>
              <a:gd name="connsiteX45" fmla="*/ 3349632 w 9517857"/>
              <a:gd name="connsiteY45" fmla="*/ 432571 h 918344"/>
              <a:gd name="connsiteX46" fmla="*/ 3479593 w 9517857"/>
              <a:gd name="connsiteY46" fmla="*/ 390425 h 918344"/>
              <a:gd name="connsiteX47" fmla="*/ 3750023 w 9517857"/>
              <a:gd name="connsiteY47" fmla="*/ 370666 h 918344"/>
              <a:gd name="connsiteX48" fmla="*/ 3844133 w 9517857"/>
              <a:gd name="connsiteY48" fmla="*/ 360636 h 918344"/>
              <a:gd name="connsiteX49" fmla="*/ 4037701 w 9517857"/>
              <a:gd name="connsiteY49" fmla="*/ 350573 h 918344"/>
              <a:gd name="connsiteX50" fmla="*/ 4266740 w 9517857"/>
              <a:gd name="connsiteY50" fmla="*/ 361442 h 918344"/>
              <a:gd name="connsiteX51" fmla="*/ 4430770 w 9517857"/>
              <a:gd name="connsiteY51" fmla="*/ 342631 h 918344"/>
              <a:gd name="connsiteX52" fmla="*/ 4512664 w 9517857"/>
              <a:gd name="connsiteY52" fmla="*/ 319936 h 918344"/>
              <a:gd name="connsiteX53" fmla="*/ 4616423 w 9517857"/>
              <a:gd name="connsiteY53" fmla="*/ 290902 h 918344"/>
              <a:gd name="connsiteX54" fmla="*/ 4691675 w 9517857"/>
              <a:gd name="connsiteY54" fmla="*/ 253999 h 918344"/>
              <a:gd name="connsiteX55" fmla="*/ 4689051 w 9517857"/>
              <a:gd name="connsiteY55" fmla="*/ 250956 h 918344"/>
              <a:gd name="connsiteX56" fmla="*/ 4719994 w 9517857"/>
              <a:gd name="connsiteY56" fmla="*/ 245295 h 918344"/>
              <a:gd name="connsiteX57" fmla="*/ 4752894 w 9517857"/>
              <a:gd name="connsiteY57" fmla="*/ 239863 h 918344"/>
              <a:gd name="connsiteX58" fmla="*/ 4769329 w 9517857"/>
              <a:gd name="connsiteY58" fmla="*/ 233573 h 918344"/>
              <a:gd name="connsiteX59" fmla="*/ 4775634 w 9517857"/>
              <a:gd name="connsiteY59" fmla="*/ 234051 h 918344"/>
              <a:gd name="connsiteX60" fmla="*/ 4790452 w 9517857"/>
              <a:gd name="connsiteY60" fmla="*/ 233560 h 918344"/>
              <a:gd name="connsiteX61" fmla="*/ 4789062 w 9517857"/>
              <a:gd name="connsiteY61" fmla="*/ 241912 h 918344"/>
              <a:gd name="connsiteX62" fmla="*/ 4827826 w 9517857"/>
              <a:gd name="connsiteY62" fmla="*/ 246965 h 918344"/>
              <a:gd name="connsiteX63" fmla="*/ 4892569 w 9517857"/>
              <a:gd name="connsiteY63" fmla="*/ 249921 h 918344"/>
              <a:gd name="connsiteX64" fmla="*/ 4896611 w 9517857"/>
              <a:gd name="connsiteY64" fmla="*/ 240436 h 918344"/>
              <a:gd name="connsiteX65" fmla="*/ 4917286 w 9517857"/>
              <a:gd name="connsiteY65" fmla="*/ 243647 h 918344"/>
              <a:gd name="connsiteX66" fmla="*/ 5060397 w 9517857"/>
              <a:gd name="connsiteY66" fmla="*/ 263676 h 918344"/>
              <a:gd name="connsiteX67" fmla="*/ 5244719 w 9517857"/>
              <a:gd name="connsiteY67" fmla="*/ 245243 h 918344"/>
              <a:gd name="connsiteX68" fmla="*/ 5358056 w 9517857"/>
              <a:gd name="connsiteY68" fmla="*/ 247236 h 918344"/>
              <a:gd name="connsiteX69" fmla="*/ 5426496 w 9517857"/>
              <a:gd name="connsiteY69" fmla="*/ 235130 h 918344"/>
              <a:gd name="connsiteX70" fmla="*/ 5497161 w 9517857"/>
              <a:gd name="connsiteY70" fmla="*/ 228796 h 918344"/>
              <a:gd name="connsiteX71" fmla="*/ 5923732 w 9517857"/>
              <a:gd name="connsiteY71" fmla="*/ 187376 h 918344"/>
              <a:gd name="connsiteX72" fmla="*/ 6194152 w 9517857"/>
              <a:gd name="connsiteY72" fmla="*/ 151760 h 918344"/>
              <a:gd name="connsiteX73" fmla="*/ 6281379 w 9517857"/>
              <a:gd name="connsiteY73" fmla="*/ 181614 h 918344"/>
              <a:gd name="connsiteX74" fmla="*/ 6374947 w 9517857"/>
              <a:gd name="connsiteY74" fmla="*/ 179787 h 918344"/>
              <a:gd name="connsiteX75" fmla="*/ 6448518 w 9517857"/>
              <a:gd name="connsiteY75" fmla="*/ 164366 h 918344"/>
              <a:gd name="connsiteX76" fmla="*/ 6544700 w 9517857"/>
              <a:gd name="connsiteY76" fmla="*/ 167149 h 918344"/>
              <a:gd name="connsiteX77" fmla="*/ 6648353 w 9517857"/>
              <a:gd name="connsiteY77" fmla="*/ 172238 h 918344"/>
              <a:gd name="connsiteX78" fmla="*/ 6736227 w 9517857"/>
              <a:gd name="connsiteY78" fmla="*/ 173204 h 918344"/>
              <a:gd name="connsiteX79" fmla="*/ 6977218 w 9517857"/>
              <a:gd name="connsiteY79" fmla="*/ 184277 h 918344"/>
              <a:gd name="connsiteX80" fmla="*/ 7065221 w 9517857"/>
              <a:gd name="connsiteY80" fmla="*/ 227519 h 918344"/>
              <a:gd name="connsiteX81" fmla="*/ 7366801 w 9517857"/>
              <a:gd name="connsiteY81" fmla="*/ 258938 h 918344"/>
              <a:gd name="connsiteX82" fmla="*/ 7433745 w 9517857"/>
              <a:gd name="connsiteY82" fmla="*/ 246959 h 918344"/>
              <a:gd name="connsiteX83" fmla="*/ 7644411 w 9517857"/>
              <a:gd name="connsiteY83" fmla="*/ 258974 h 918344"/>
              <a:gd name="connsiteX84" fmla="*/ 7825110 w 9517857"/>
              <a:gd name="connsiteY84" fmla="*/ 229097 h 918344"/>
              <a:gd name="connsiteX85" fmla="*/ 8106016 w 9517857"/>
              <a:gd name="connsiteY85" fmla="*/ 231005 h 918344"/>
              <a:gd name="connsiteX86" fmla="*/ 8256033 w 9517857"/>
              <a:gd name="connsiteY86" fmla="*/ 193701 h 918344"/>
              <a:gd name="connsiteX87" fmla="*/ 8551625 w 9517857"/>
              <a:gd name="connsiteY87" fmla="*/ 161505 h 918344"/>
              <a:gd name="connsiteX88" fmla="*/ 8840778 w 9517857"/>
              <a:gd name="connsiteY88" fmla="*/ 143137 h 918344"/>
              <a:gd name="connsiteX89" fmla="*/ 9010380 w 9517857"/>
              <a:gd name="connsiteY89" fmla="*/ 91879 h 918344"/>
              <a:gd name="connsiteX90" fmla="*/ 9110856 w 9517857"/>
              <a:gd name="connsiteY90" fmla="*/ 70985 h 918344"/>
              <a:gd name="connsiteX91" fmla="*/ 9268817 w 9517857"/>
              <a:gd name="connsiteY91" fmla="*/ 53070 h 918344"/>
              <a:gd name="connsiteX92" fmla="*/ 9316667 w 9517857"/>
              <a:gd name="connsiteY92" fmla="*/ 45035 h 918344"/>
              <a:gd name="connsiteX93" fmla="*/ 9428209 w 9517857"/>
              <a:gd name="connsiteY93" fmla="*/ 29911 h 918344"/>
              <a:gd name="connsiteX0" fmla="*/ 4686423 w 9517857"/>
              <a:gd name="connsiteY0" fmla="*/ 247907 h 918344"/>
              <a:gd name="connsiteX1" fmla="*/ 4689051 w 9517857"/>
              <a:gd name="connsiteY1" fmla="*/ 250956 h 918344"/>
              <a:gd name="connsiteX2" fmla="*/ 4687244 w 9517857"/>
              <a:gd name="connsiteY2" fmla="*/ 251286 h 918344"/>
              <a:gd name="connsiteX3" fmla="*/ 4686423 w 9517857"/>
              <a:gd name="connsiteY3" fmla="*/ 247907 h 918344"/>
              <a:gd name="connsiteX4" fmla="*/ 4685225 w 9517857"/>
              <a:gd name="connsiteY4" fmla="*/ 246518 h 918344"/>
              <a:gd name="connsiteX5" fmla="*/ 4686133 w 9517857"/>
              <a:gd name="connsiteY5" fmla="*/ 246715 h 918344"/>
              <a:gd name="connsiteX6" fmla="*/ 4686423 w 9517857"/>
              <a:gd name="connsiteY6" fmla="*/ 247907 h 918344"/>
              <a:gd name="connsiteX7" fmla="*/ 4685225 w 9517857"/>
              <a:gd name="connsiteY7" fmla="*/ 246518 h 918344"/>
              <a:gd name="connsiteX8" fmla="*/ 9428209 w 9517857"/>
              <a:gd name="connsiteY8" fmla="*/ 29911 h 918344"/>
              <a:gd name="connsiteX9" fmla="*/ 9517857 w 9517857"/>
              <a:gd name="connsiteY9" fmla="*/ 0 h 918344"/>
              <a:gd name="connsiteX10" fmla="*/ 9517857 w 9517857"/>
              <a:gd name="connsiteY10" fmla="*/ 918344 h 918344"/>
              <a:gd name="connsiteX11" fmla="*/ 14604 w 9517857"/>
              <a:gd name="connsiteY11" fmla="*/ 918344 h 918344"/>
              <a:gd name="connsiteX12" fmla="*/ 12841 w 9517857"/>
              <a:gd name="connsiteY12" fmla="*/ 917751 h 918344"/>
              <a:gd name="connsiteX13" fmla="*/ 93 w 9517857"/>
              <a:gd name="connsiteY13" fmla="*/ 912459 h 918344"/>
              <a:gd name="connsiteX14" fmla="*/ 58674 w 9517857"/>
              <a:gd name="connsiteY14" fmla="*/ 890310 h 918344"/>
              <a:gd name="connsiteX15" fmla="*/ 275005 w 9517857"/>
              <a:gd name="connsiteY15" fmla="*/ 807217 h 918344"/>
              <a:gd name="connsiteX16" fmla="*/ 587824 w 9517857"/>
              <a:gd name="connsiteY16" fmla="*/ 798183 h 918344"/>
              <a:gd name="connsiteX17" fmla="*/ 651826 w 9517857"/>
              <a:gd name="connsiteY17" fmla="*/ 738326 h 918344"/>
              <a:gd name="connsiteX18" fmla="*/ 727985 w 9517857"/>
              <a:gd name="connsiteY18" fmla="*/ 719814 h 918344"/>
              <a:gd name="connsiteX19" fmla="*/ 778982 w 9517857"/>
              <a:gd name="connsiteY19" fmla="*/ 710130 h 918344"/>
              <a:gd name="connsiteX20" fmla="*/ 849944 w 9517857"/>
              <a:gd name="connsiteY20" fmla="*/ 717975 h 918344"/>
              <a:gd name="connsiteX21" fmla="*/ 921659 w 9517857"/>
              <a:gd name="connsiteY21" fmla="*/ 712683 h 918344"/>
              <a:gd name="connsiteX22" fmla="*/ 930946 w 9517857"/>
              <a:gd name="connsiteY22" fmla="*/ 734034 h 918344"/>
              <a:gd name="connsiteX23" fmla="*/ 986250 w 9517857"/>
              <a:gd name="connsiteY23" fmla="*/ 713518 h 918344"/>
              <a:gd name="connsiteX24" fmla="*/ 1013752 w 9517857"/>
              <a:gd name="connsiteY24" fmla="*/ 713349 h 918344"/>
              <a:gd name="connsiteX25" fmla="*/ 1023734 w 9517857"/>
              <a:gd name="connsiteY25" fmla="*/ 718559 h 918344"/>
              <a:gd name="connsiteX26" fmla="*/ 1063207 w 9517857"/>
              <a:gd name="connsiteY26" fmla="*/ 715639 h 918344"/>
              <a:gd name="connsiteX27" fmla="*/ 1081980 w 9517857"/>
              <a:gd name="connsiteY27" fmla="*/ 738443 h 918344"/>
              <a:gd name="connsiteX28" fmla="*/ 1218120 w 9517857"/>
              <a:gd name="connsiteY28" fmla="*/ 713268 h 918344"/>
              <a:gd name="connsiteX29" fmla="*/ 1397459 w 9517857"/>
              <a:gd name="connsiteY29" fmla="*/ 691178 h 918344"/>
              <a:gd name="connsiteX30" fmla="*/ 1580688 w 9517857"/>
              <a:gd name="connsiteY30" fmla="*/ 693685 h 918344"/>
              <a:gd name="connsiteX31" fmla="*/ 1772334 w 9517857"/>
              <a:gd name="connsiteY31" fmla="*/ 710628 h 918344"/>
              <a:gd name="connsiteX32" fmla="*/ 2002561 w 9517857"/>
              <a:gd name="connsiteY32" fmla="*/ 659905 h 918344"/>
              <a:gd name="connsiteX33" fmla="*/ 2135144 w 9517857"/>
              <a:gd name="connsiteY33" fmla="*/ 636489 h 918344"/>
              <a:gd name="connsiteX34" fmla="*/ 2448505 w 9517857"/>
              <a:gd name="connsiteY34" fmla="*/ 578838 h 918344"/>
              <a:gd name="connsiteX35" fmla="*/ 2658055 w 9517857"/>
              <a:gd name="connsiteY35" fmla="*/ 578715 h 918344"/>
              <a:gd name="connsiteX36" fmla="*/ 2693698 w 9517857"/>
              <a:gd name="connsiteY36" fmla="*/ 560017 h 918344"/>
              <a:gd name="connsiteX37" fmla="*/ 2699673 w 9517857"/>
              <a:gd name="connsiteY37" fmla="*/ 556388 h 918344"/>
              <a:gd name="connsiteX38" fmla="*/ 2727306 w 9517857"/>
              <a:gd name="connsiteY38" fmla="*/ 550686 h 918344"/>
              <a:gd name="connsiteX39" fmla="*/ 2730451 w 9517857"/>
              <a:gd name="connsiteY39" fmla="*/ 538046 h 918344"/>
              <a:gd name="connsiteX40" fmla="*/ 2768713 w 9517857"/>
              <a:gd name="connsiteY40" fmla="*/ 521563 h 918344"/>
              <a:gd name="connsiteX41" fmla="*/ 2820868 w 9517857"/>
              <a:gd name="connsiteY41" fmla="*/ 514148 h 918344"/>
              <a:gd name="connsiteX42" fmla="*/ 3073635 w 9517857"/>
              <a:gd name="connsiteY42" fmla="*/ 491282 h 918344"/>
              <a:gd name="connsiteX43" fmla="*/ 3222071 w 9517857"/>
              <a:gd name="connsiteY43" fmla="*/ 470547 h 918344"/>
              <a:gd name="connsiteX44" fmla="*/ 3274069 w 9517857"/>
              <a:gd name="connsiteY44" fmla="*/ 451593 h 918344"/>
              <a:gd name="connsiteX45" fmla="*/ 3349632 w 9517857"/>
              <a:gd name="connsiteY45" fmla="*/ 432571 h 918344"/>
              <a:gd name="connsiteX46" fmla="*/ 3479593 w 9517857"/>
              <a:gd name="connsiteY46" fmla="*/ 390425 h 918344"/>
              <a:gd name="connsiteX47" fmla="*/ 3750023 w 9517857"/>
              <a:gd name="connsiteY47" fmla="*/ 370666 h 918344"/>
              <a:gd name="connsiteX48" fmla="*/ 3844133 w 9517857"/>
              <a:gd name="connsiteY48" fmla="*/ 360636 h 918344"/>
              <a:gd name="connsiteX49" fmla="*/ 4037701 w 9517857"/>
              <a:gd name="connsiteY49" fmla="*/ 350573 h 918344"/>
              <a:gd name="connsiteX50" fmla="*/ 4266740 w 9517857"/>
              <a:gd name="connsiteY50" fmla="*/ 361442 h 918344"/>
              <a:gd name="connsiteX51" fmla="*/ 4430770 w 9517857"/>
              <a:gd name="connsiteY51" fmla="*/ 342631 h 918344"/>
              <a:gd name="connsiteX52" fmla="*/ 4512664 w 9517857"/>
              <a:gd name="connsiteY52" fmla="*/ 319936 h 918344"/>
              <a:gd name="connsiteX53" fmla="*/ 4616423 w 9517857"/>
              <a:gd name="connsiteY53" fmla="*/ 290902 h 918344"/>
              <a:gd name="connsiteX54" fmla="*/ 4691675 w 9517857"/>
              <a:gd name="connsiteY54" fmla="*/ 253999 h 918344"/>
              <a:gd name="connsiteX55" fmla="*/ 4689051 w 9517857"/>
              <a:gd name="connsiteY55" fmla="*/ 250956 h 918344"/>
              <a:gd name="connsiteX56" fmla="*/ 4719994 w 9517857"/>
              <a:gd name="connsiteY56" fmla="*/ 245295 h 918344"/>
              <a:gd name="connsiteX57" fmla="*/ 4752894 w 9517857"/>
              <a:gd name="connsiteY57" fmla="*/ 239863 h 918344"/>
              <a:gd name="connsiteX58" fmla="*/ 4769329 w 9517857"/>
              <a:gd name="connsiteY58" fmla="*/ 233573 h 918344"/>
              <a:gd name="connsiteX59" fmla="*/ 4775634 w 9517857"/>
              <a:gd name="connsiteY59" fmla="*/ 234051 h 918344"/>
              <a:gd name="connsiteX60" fmla="*/ 4790452 w 9517857"/>
              <a:gd name="connsiteY60" fmla="*/ 233560 h 918344"/>
              <a:gd name="connsiteX61" fmla="*/ 4789062 w 9517857"/>
              <a:gd name="connsiteY61" fmla="*/ 241912 h 918344"/>
              <a:gd name="connsiteX62" fmla="*/ 4827826 w 9517857"/>
              <a:gd name="connsiteY62" fmla="*/ 246965 h 918344"/>
              <a:gd name="connsiteX63" fmla="*/ 4892569 w 9517857"/>
              <a:gd name="connsiteY63" fmla="*/ 249921 h 918344"/>
              <a:gd name="connsiteX64" fmla="*/ 4896611 w 9517857"/>
              <a:gd name="connsiteY64" fmla="*/ 240436 h 918344"/>
              <a:gd name="connsiteX65" fmla="*/ 4917286 w 9517857"/>
              <a:gd name="connsiteY65" fmla="*/ 243647 h 918344"/>
              <a:gd name="connsiteX66" fmla="*/ 5060397 w 9517857"/>
              <a:gd name="connsiteY66" fmla="*/ 263676 h 918344"/>
              <a:gd name="connsiteX67" fmla="*/ 5244719 w 9517857"/>
              <a:gd name="connsiteY67" fmla="*/ 245243 h 918344"/>
              <a:gd name="connsiteX68" fmla="*/ 5358056 w 9517857"/>
              <a:gd name="connsiteY68" fmla="*/ 247236 h 918344"/>
              <a:gd name="connsiteX69" fmla="*/ 5426496 w 9517857"/>
              <a:gd name="connsiteY69" fmla="*/ 235130 h 918344"/>
              <a:gd name="connsiteX70" fmla="*/ 5497161 w 9517857"/>
              <a:gd name="connsiteY70" fmla="*/ 228796 h 918344"/>
              <a:gd name="connsiteX71" fmla="*/ 5923732 w 9517857"/>
              <a:gd name="connsiteY71" fmla="*/ 187376 h 918344"/>
              <a:gd name="connsiteX72" fmla="*/ 6194152 w 9517857"/>
              <a:gd name="connsiteY72" fmla="*/ 151760 h 918344"/>
              <a:gd name="connsiteX73" fmla="*/ 6281379 w 9517857"/>
              <a:gd name="connsiteY73" fmla="*/ 181614 h 918344"/>
              <a:gd name="connsiteX74" fmla="*/ 6374947 w 9517857"/>
              <a:gd name="connsiteY74" fmla="*/ 179787 h 918344"/>
              <a:gd name="connsiteX75" fmla="*/ 6448518 w 9517857"/>
              <a:gd name="connsiteY75" fmla="*/ 164366 h 918344"/>
              <a:gd name="connsiteX76" fmla="*/ 6544700 w 9517857"/>
              <a:gd name="connsiteY76" fmla="*/ 167149 h 918344"/>
              <a:gd name="connsiteX77" fmla="*/ 6648353 w 9517857"/>
              <a:gd name="connsiteY77" fmla="*/ 172238 h 918344"/>
              <a:gd name="connsiteX78" fmla="*/ 6736227 w 9517857"/>
              <a:gd name="connsiteY78" fmla="*/ 173204 h 918344"/>
              <a:gd name="connsiteX79" fmla="*/ 6977218 w 9517857"/>
              <a:gd name="connsiteY79" fmla="*/ 184277 h 918344"/>
              <a:gd name="connsiteX80" fmla="*/ 7065221 w 9517857"/>
              <a:gd name="connsiteY80" fmla="*/ 227519 h 918344"/>
              <a:gd name="connsiteX81" fmla="*/ 7366801 w 9517857"/>
              <a:gd name="connsiteY81" fmla="*/ 258938 h 918344"/>
              <a:gd name="connsiteX82" fmla="*/ 7433745 w 9517857"/>
              <a:gd name="connsiteY82" fmla="*/ 246959 h 918344"/>
              <a:gd name="connsiteX83" fmla="*/ 7644411 w 9517857"/>
              <a:gd name="connsiteY83" fmla="*/ 258974 h 918344"/>
              <a:gd name="connsiteX84" fmla="*/ 7825110 w 9517857"/>
              <a:gd name="connsiteY84" fmla="*/ 229097 h 918344"/>
              <a:gd name="connsiteX85" fmla="*/ 8106016 w 9517857"/>
              <a:gd name="connsiteY85" fmla="*/ 231005 h 918344"/>
              <a:gd name="connsiteX86" fmla="*/ 8256033 w 9517857"/>
              <a:gd name="connsiteY86" fmla="*/ 193701 h 918344"/>
              <a:gd name="connsiteX87" fmla="*/ 8551625 w 9517857"/>
              <a:gd name="connsiteY87" fmla="*/ 161505 h 918344"/>
              <a:gd name="connsiteX88" fmla="*/ 8791116 w 9517857"/>
              <a:gd name="connsiteY88" fmla="*/ 143137 h 918344"/>
              <a:gd name="connsiteX89" fmla="*/ 9010380 w 9517857"/>
              <a:gd name="connsiteY89" fmla="*/ 91879 h 918344"/>
              <a:gd name="connsiteX90" fmla="*/ 9110856 w 9517857"/>
              <a:gd name="connsiteY90" fmla="*/ 70985 h 918344"/>
              <a:gd name="connsiteX91" fmla="*/ 9268817 w 9517857"/>
              <a:gd name="connsiteY91" fmla="*/ 53070 h 918344"/>
              <a:gd name="connsiteX92" fmla="*/ 9316667 w 9517857"/>
              <a:gd name="connsiteY92" fmla="*/ 45035 h 918344"/>
              <a:gd name="connsiteX93" fmla="*/ 9428209 w 9517857"/>
              <a:gd name="connsiteY93" fmla="*/ 29911 h 918344"/>
              <a:gd name="connsiteX0" fmla="*/ 4686423 w 9517857"/>
              <a:gd name="connsiteY0" fmla="*/ 247907 h 918344"/>
              <a:gd name="connsiteX1" fmla="*/ 4689051 w 9517857"/>
              <a:gd name="connsiteY1" fmla="*/ 250956 h 918344"/>
              <a:gd name="connsiteX2" fmla="*/ 4687244 w 9517857"/>
              <a:gd name="connsiteY2" fmla="*/ 251286 h 918344"/>
              <a:gd name="connsiteX3" fmla="*/ 4686423 w 9517857"/>
              <a:gd name="connsiteY3" fmla="*/ 247907 h 918344"/>
              <a:gd name="connsiteX4" fmla="*/ 4685225 w 9517857"/>
              <a:gd name="connsiteY4" fmla="*/ 246518 h 918344"/>
              <a:gd name="connsiteX5" fmla="*/ 4686133 w 9517857"/>
              <a:gd name="connsiteY5" fmla="*/ 246715 h 918344"/>
              <a:gd name="connsiteX6" fmla="*/ 4686423 w 9517857"/>
              <a:gd name="connsiteY6" fmla="*/ 247907 h 918344"/>
              <a:gd name="connsiteX7" fmla="*/ 4685225 w 9517857"/>
              <a:gd name="connsiteY7" fmla="*/ 246518 h 918344"/>
              <a:gd name="connsiteX8" fmla="*/ 9428209 w 9517857"/>
              <a:gd name="connsiteY8" fmla="*/ 29911 h 918344"/>
              <a:gd name="connsiteX9" fmla="*/ 9517857 w 9517857"/>
              <a:gd name="connsiteY9" fmla="*/ 0 h 918344"/>
              <a:gd name="connsiteX10" fmla="*/ 9517857 w 9517857"/>
              <a:gd name="connsiteY10" fmla="*/ 918344 h 918344"/>
              <a:gd name="connsiteX11" fmla="*/ 14604 w 9517857"/>
              <a:gd name="connsiteY11" fmla="*/ 918344 h 918344"/>
              <a:gd name="connsiteX12" fmla="*/ 12841 w 9517857"/>
              <a:gd name="connsiteY12" fmla="*/ 917751 h 918344"/>
              <a:gd name="connsiteX13" fmla="*/ 93 w 9517857"/>
              <a:gd name="connsiteY13" fmla="*/ 912459 h 918344"/>
              <a:gd name="connsiteX14" fmla="*/ 58674 w 9517857"/>
              <a:gd name="connsiteY14" fmla="*/ 890310 h 918344"/>
              <a:gd name="connsiteX15" fmla="*/ 275005 w 9517857"/>
              <a:gd name="connsiteY15" fmla="*/ 807217 h 918344"/>
              <a:gd name="connsiteX16" fmla="*/ 587824 w 9517857"/>
              <a:gd name="connsiteY16" fmla="*/ 798183 h 918344"/>
              <a:gd name="connsiteX17" fmla="*/ 651826 w 9517857"/>
              <a:gd name="connsiteY17" fmla="*/ 738326 h 918344"/>
              <a:gd name="connsiteX18" fmla="*/ 727985 w 9517857"/>
              <a:gd name="connsiteY18" fmla="*/ 719814 h 918344"/>
              <a:gd name="connsiteX19" fmla="*/ 778982 w 9517857"/>
              <a:gd name="connsiteY19" fmla="*/ 710130 h 918344"/>
              <a:gd name="connsiteX20" fmla="*/ 849944 w 9517857"/>
              <a:gd name="connsiteY20" fmla="*/ 717975 h 918344"/>
              <a:gd name="connsiteX21" fmla="*/ 921659 w 9517857"/>
              <a:gd name="connsiteY21" fmla="*/ 712683 h 918344"/>
              <a:gd name="connsiteX22" fmla="*/ 930946 w 9517857"/>
              <a:gd name="connsiteY22" fmla="*/ 734034 h 918344"/>
              <a:gd name="connsiteX23" fmla="*/ 986250 w 9517857"/>
              <a:gd name="connsiteY23" fmla="*/ 713518 h 918344"/>
              <a:gd name="connsiteX24" fmla="*/ 1013752 w 9517857"/>
              <a:gd name="connsiteY24" fmla="*/ 713349 h 918344"/>
              <a:gd name="connsiteX25" fmla="*/ 1023734 w 9517857"/>
              <a:gd name="connsiteY25" fmla="*/ 718559 h 918344"/>
              <a:gd name="connsiteX26" fmla="*/ 1063207 w 9517857"/>
              <a:gd name="connsiteY26" fmla="*/ 715639 h 918344"/>
              <a:gd name="connsiteX27" fmla="*/ 1081980 w 9517857"/>
              <a:gd name="connsiteY27" fmla="*/ 738443 h 918344"/>
              <a:gd name="connsiteX28" fmla="*/ 1218120 w 9517857"/>
              <a:gd name="connsiteY28" fmla="*/ 713268 h 918344"/>
              <a:gd name="connsiteX29" fmla="*/ 1397459 w 9517857"/>
              <a:gd name="connsiteY29" fmla="*/ 691178 h 918344"/>
              <a:gd name="connsiteX30" fmla="*/ 1580688 w 9517857"/>
              <a:gd name="connsiteY30" fmla="*/ 693685 h 918344"/>
              <a:gd name="connsiteX31" fmla="*/ 1772334 w 9517857"/>
              <a:gd name="connsiteY31" fmla="*/ 710628 h 918344"/>
              <a:gd name="connsiteX32" fmla="*/ 2002561 w 9517857"/>
              <a:gd name="connsiteY32" fmla="*/ 659905 h 918344"/>
              <a:gd name="connsiteX33" fmla="*/ 2135144 w 9517857"/>
              <a:gd name="connsiteY33" fmla="*/ 636489 h 918344"/>
              <a:gd name="connsiteX34" fmla="*/ 2448505 w 9517857"/>
              <a:gd name="connsiteY34" fmla="*/ 578838 h 918344"/>
              <a:gd name="connsiteX35" fmla="*/ 2658055 w 9517857"/>
              <a:gd name="connsiteY35" fmla="*/ 578715 h 918344"/>
              <a:gd name="connsiteX36" fmla="*/ 2693698 w 9517857"/>
              <a:gd name="connsiteY36" fmla="*/ 560017 h 918344"/>
              <a:gd name="connsiteX37" fmla="*/ 2699673 w 9517857"/>
              <a:gd name="connsiteY37" fmla="*/ 556388 h 918344"/>
              <a:gd name="connsiteX38" fmla="*/ 2727306 w 9517857"/>
              <a:gd name="connsiteY38" fmla="*/ 550686 h 918344"/>
              <a:gd name="connsiteX39" fmla="*/ 2730451 w 9517857"/>
              <a:gd name="connsiteY39" fmla="*/ 538046 h 918344"/>
              <a:gd name="connsiteX40" fmla="*/ 2768713 w 9517857"/>
              <a:gd name="connsiteY40" fmla="*/ 521563 h 918344"/>
              <a:gd name="connsiteX41" fmla="*/ 2820868 w 9517857"/>
              <a:gd name="connsiteY41" fmla="*/ 514148 h 918344"/>
              <a:gd name="connsiteX42" fmla="*/ 3073635 w 9517857"/>
              <a:gd name="connsiteY42" fmla="*/ 491282 h 918344"/>
              <a:gd name="connsiteX43" fmla="*/ 3222071 w 9517857"/>
              <a:gd name="connsiteY43" fmla="*/ 470547 h 918344"/>
              <a:gd name="connsiteX44" fmla="*/ 3274069 w 9517857"/>
              <a:gd name="connsiteY44" fmla="*/ 451593 h 918344"/>
              <a:gd name="connsiteX45" fmla="*/ 3349632 w 9517857"/>
              <a:gd name="connsiteY45" fmla="*/ 432571 h 918344"/>
              <a:gd name="connsiteX46" fmla="*/ 3479593 w 9517857"/>
              <a:gd name="connsiteY46" fmla="*/ 390425 h 918344"/>
              <a:gd name="connsiteX47" fmla="*/ 3750023 w 9517857"/>
              <a:gd name="connsiteY47" fmla="*/ 370666 h 918344"/>
              <a:gd name="connsiteX48" fmla="*/ 3844133 w 9517857"/>
              <a:gd name="connsiteY48" fmla="*/ 360636 h 918344"/>
              <a:gd name="connsiteX49" fmla="*/ 4037701 w 9517857"/>
              <a:gd name="connsiteY49" fmla="*/ 350573 h 918344"/>
              <a:gd name="connsiteX50" fmla="*/ 4266740 w 9517857"/>
              <a:gd name="connsiteY50" fmla="*/ 361442 h 918344"/>
              <a:gd name="connsiteX51" fmla="*/ 4430770 w 9517857"/>
              <a:gd name="connsiteY51" fmla="*/ 342631 h 918344"/>
              <a:gd name="connsiteX52" fmla="*/ 4512664 w 9517857"/>
              <a:gd name="connsiteY52" fmla="*/ 319936 h 918344"/>
              <a:gd name="connsiteX53" fmla="*/ 4616423 w 9517857"/>
              <a:gd name="connsiteY53" fmla="*/ 290902 h 918344"/>
              <a:gd name="connsiteX54" fmla="*/ 4691675 w 9517857"/>
              <a:gd name="connsiteY54" fmla="*/ 253999 h 918344"/>
              <a:gd name="connsiteX55" fmla="*/ 4689051 w 9517857"/>
              <a:gd name="connsiteY55" fmla="*/ 250956 h 918344"/>
              <a:gd name="connsiteX56" fmla="*/ 4719994 w 9517857"/>
              <a:gd name="connsiteY56" fmla="*/ 245295 h 918344"/>
              <a:gd name="connsiteX57" fmla="*/ 4752894 w 9517857"/>
              <a:gd name="connsiteY57" fmla="*/ 239863 h 918344"/>
              <a:gd name="connsiteX58" fmla="*/ 4769329 w 9517857"/>
              <a:gd name="connsiteY58" fmla="*/ 233573 h 918344"/>
              <a:gd name="connsiteX59" fmla="*/ 4775634 w 9517857"/>
              <a:gd name="connsiteY59" fmla="*/ 234051 h 918344"/>
              <a:gd name="connsiteX60" fmla="*/ 4790452 w 9517857"/>
              <a:gd name="connsiteY60" fmla="*/ 233560 h 918344"/>
              <a:gd name="connsiteX61" fmla="*/ 4789062 w 9517857"/>
              <a:gd name="connsiteY61" fmla="*/ 241912 h 918344"/>
              <a:gd name="connsiteX62" fmla="*/ 4827826 w 9517857"/>
              <a:gd name="connsiteY62" fmla="*/ 246965 h 918344"/>
              <a:gd name="connsiteX63" fmla="*/ 4892569 w 9517857"/>
              <a:gd name="connsiteY63" fmla="*/ 249921 h 918344"/>
              <a:gd name="connsiteX64" fmla="*/ 4896611 w 9517857"/>
              <a:gd name="connsiteY64" fmla="*/ 240436 h 918344"/>
              <a:gd name="connsiteX65" fmla="*/ 4917286 w 9517857"/>
              <a:gd name="connsiteY65" fmla="*/ 243647 h 918344"/>
              <a:gd name="connsiteX66" fmla="*/ 5060397 w 9517857"/>
              <a:gd name="connsiteY66" fmla="*/ 263676 h 918344"/>
              <a:gd name="connsiteX67" fmla="*/ 5244719 w 9517857"/>
              <a:gd name="connsiteY67" fmla="*/ 245243 h 918344"/>
              <a:gd name="connsiteX68" fmla="*/ 5358056 w 9517857"/>
              <a:gd name="connsiteY68" fmla="*/ 247236 h 918344"/>
              <a:gd name="connsiteX69" fmla="*/ 5426496 w 9517857"/>
              <a:gd name="connsiteY69" fmla="*/ 235130 h 918344"/>
              <a:gd name="connsiteX70" fmla="*/ 5497161 w 9517857"/>
              <a:gd name="connsiteY70" fmla="*/ 228796 h 918344"/>
              <a:gd name="connsiteX71" fmla="*/ 5923732 w 9517857"/>
              <a:gd name="connsiteY71" fmla="*/ 187376 h 918344"/>
              <a:gd name="connsiteX72" fmla="*/ 6194152 w 9517857"/>
              <a:gd name="connsiteY72" fmla="*/ 151760 h 918344"/>
              <a:gd name="connsiteX73" fmla="*/ 6281379 w 9517857"/>
              <a:gd name="connsiteY73" fmla="*/ 181614 h 918344"/>
              <a:gd name="connsiteX74" fmla="*/ 6374947 w 9517857"/>
              <a:gd name="connsiteY74" fmla="*/ 179787 h 918344"/>
              <a:gd name="connsiteX75" fmla="*/ 6448518 w 9517857"/>
              <a:gd name="connsiteY75" fmla="*/ 164366 h 918344"/>
              <a:gd name="connsiteX76" fmla="*/ 6544700 w 9517857"/>
              <a:gd name="connsiteY76" fmla="*/ 167149 h 918344"/>
              <a:gd name="connsiteX77" fmla="*/ 6648353 w 9517857"/>
              <a:gd name="connsiteY77" fmla="*/ 172238 h 918344"/>
              <a:gd name="connsiteX78" fmla="*/ 6736227 w 9517857"/>
              <a:gd name="connsiteY78" fmla="*/ 173204 h 918344"/>
              <a:gd name="connsiteX79" fmla="*/ 6977218 w 9517857"/>
              <a:gd name="connsiteY79" fmla="*/ 184277 h 918344"/>
              <a:gd name="connsiteX80" fmla="*/ 7065221 w 9517857"/>
              <a:gd name="connsiteY80" fmla="*/ 227519 h 918344"/>
              <a:gd name="connsiteX81" fmla="*/ 7366801 w 9517857"/>
              <a:gd name="connsiteY81" fmla="*/ 258938 h 918344"/>
              <a:gd name="connsiteX82" fmla="*/ 7433745 w 9517857"/>
              <a:gd name="connsiteY82" fmla="*/ 246959 h 918344"/>
              <a:gd name="connsiteX83" fmla="*/ 7644411 w 9517857"/>
              <a:gd name="connsiteY83" fmla="*/ 258974 h 918344"/>
              <a:gd name="connsiteX84" fmla="*/ 7825110 w 9517857"/>
              <a:gd name="connsiteY84" fmla="*/ 229097 h 918344"/>
              <a:gd name="connsiteX85" fmla="*/ 8106016 w 9517857"/>
              <a:gd name="connsiteY85" fmla="*/ 231005 h 918344"/>
              <a:gd name="connsiteX86" fmla="*/ 8256033 w 9517857"/>
              <a:gd name="connsiteY86" fmla="*/ 193701 h 918344"/>
              <a:gd name="connsiteX87" fmla="*/ 8551625 w 9517857"/>
              <a:gd name="connsiteY87" fmla="*/ 161505 h 918344"/>
              <a:gd name="connsiteX88" fmla="*/ 8791116 w 9517857"/>
              <a:gd name="connsiteY88" fmla="*/ 143137 h 918344"/>
              <a:gd name="connsiteX89" fmla="*/ 9010380 w 9517857"/>
              <a:gd name="connsiteY89" fmla="*/ 91879 h 918344"/>
              <a:gd name="connsiteX90" fmla="*/ 9110856 w 9517857"/>
              <a:gd name="connsiteY90" fmla="*/ 70985 h 918344"/>
              <a:gd name="connsiteX91" fmla="*/ 9268817 w 9517857"/>
              <a:gd name="connsiteY91" fmla="*/ 53070 h 918344"/>
              <a:gd name="connsiteX92" fmla="*/ 9316667 w 9517857"/>
              <a:gd name="connsiteY92" fmla="*/ 45035 h 918344"/>
              <a:gd name="connsiteX93" fmla="*/ 9428209 w 9517857"/>
              <a:gd name="connsiteY93" fmla="*/ 29911 h 918344"/>
              <a:gd name="connsiteX0" fmla="*/ 4686423 w 9517857"/>
              <a:gd name="connsiteY0" fmla="*/ 247907 h 918344"/>
              <a:gd name="connsiteX1" fmla="*/ 4689051 w 9517857"/>
              <a:gd name="connsiteY1" fmla="*/ 250956 h 918344"/>
              <a:gd name="connsiteX2" fmla="*/ 4687244 w 9517857"/>
              <a:gd name="connsiteY2" fmla="*/ 251286 h 918344"/>
              <a:gd name="connsiteX3" fmla="*/ 4686423 w 9517857"/>
              <a:gd name="connsiteY3" fmla="*/ 247907 h 918344"/>
              <a:gd name="connsiteX4" fmla="*/ 4685225 w 9517857"/>
              <a:gd name="connsiteY4" fmla="*/ 246518 h 918344"/>
              <a:gd name="connsiteX5" fmla="*/ 4686133 w 9517857"/>
              <a:gd name="connsiteY5" fmla="*/ 246715 h 918344"/>
              <a:gd name="connsiteX6" fmla="*/ 4686423 w 9517857"/>
              <a:gd name="connsiteY6" fmla="*/ 247907 h 918344"/>
              <a:gd name="connsiteX7" fmla="*/ 4685225 w 9517857"/>
              <a:gd name="connsiteY7" fmla="*/ 246518 h 918344"/>
              <a:gd name="connsiteX8" fmla="*/ 9428209 w 9517857"/>
              <a:gd name="connsiteY8" fmla="*/ 29911 h 918344"/>
              <a:gd name="connsiteX9" fmla="*/ 9517857 w 9517857"/>
              <a:gd name="connsiteY9" fmla="*/ 0 h 918344"/>
              <a:gd name="connsiteX10" fmla="*/ 9517857 w 9517857"/>
              <a:gd name="connsiteY10" fmla="*/ 918344 h 918344"/>
              <a:gd name="connsiteX11" fmla="*/ 14604 w 9517857"/>
              <a:gd name="connsiteY11" fmla="*/ 918344 h 918344"/>
              <a:gd name="connsiteX12" fmla="*/ 12841 w 9517857"/>
              <a:gd name="connsiteY12" fmla="*/ 917751 h 918344"/>
              <a:gd name="connsiteX13" fmla="*/ 93 w 9517857"/>
              <a:gd name="connsiteY13" fmla="*/ 912459 h 918344"/>
              <a:gd name="connsiteX14" fmla="*/ 58674 w 9517857"/>
              <a:gd name="connsiteY14" fmla="*/ 890310 h 918344"/>
              <a:gd name="connsiteX15" fmla="*/ 275005 w 9517857"/>
              <a:gd name="connsiteY15" fmla="*/ 807217 h 918344"/>
              <a:gd name="connsiteX16" fmla="*/ 587824 w 9517857"/>
              <a:gd name="connsiteY16" fmla="*/ 798183 h 918344"/>
              <a:gd name="connsiteX17" fmla="*/ 651826 w 9517857"/>
              <a:gd name="connsiteY17" fmla="*/ 738326 h 918344"/>
              <a:gd name="connsiteX18" fmla="*/ 727985 w 9517857"/>
              <a:gd name="connsiteY18" fmla="*/ 719814 h 918344"/>
              <a:gd name="connsiteX19" fmla="*/ 778982 w 9517857"/>
              <a:gd name="connsiteY19" fmla="*/ 710130 h 918344"/>
              <a:gd name="connsiteX20" fmla="*/ 849944 w 9517857"/>
              <a:gd name="connsiteY20" fmla="*/ 717975 h 918344"/>
              <a:gd name="connsiteX21" fmla="*/ 921659 w 9517857"/>
              <a:gd name="connsiteY21" fmla="*/ 712683 h 918344"/>
              <a:gd name="connsiteX22" fmla="*/ 930946 w 9517857"/>
              <a:gd name="connsiteY22" fmla="*/ 734034 h 918344"/>
              <a:gd name="connsiteX23" fmla="*/ 986250 w 9517857"/>
              <a:gd name="connsiteY23" fmla="*/ 713518 h 918344"/>
              <a:gd name="connsiteX24" fmla="*/ 1013752 w 9517857"/>
              <a:gd name="connsiteY24" fmla="*/ 713349 h 918344"/>
              <a:gd name="connsiteX25" fmla="*/ 1023734 w 9517857"/>
              <a:gd name="connsiteY25" fmla="*/ 718559 h 918344"/>
              <a:gd name="connsiteX26" fmla="*/ 1063207 w 9517857"/>
              <a:gd name="connsiteY26" fmla="*/ 715639 h 918344"/>
              <a:gd name="connsiteX27" fmla="*/ 1081980 w 9517857"/>
              <a:gd name="connsiteY27" fmla="*/ 738443 h 918344"/>
              <a:gd name="connsiteX28" fmla="*/ 1218120 w 9517857"/>
              <a:gd name="connsiteY28" fmla="*/ 713268 h 918344"/>
              <a:gd name="connsiteX29" fmla="*/ 1397459 w 9517857"/>
              <a:gd name="connsiteY29" fmla="*/ 691178 h 918344"/>
              <a:gd name="connsiteX30" fmla="*/ 1580688 w 9517857"/>
              <a:gd name="connsiteY30" fmla="*/ 693685 h 918344"/>
              <a:gd name="connsiteX31" fmla="*/ 1772334 w 9517857"/>
              <a:gd name="connsiteY31" fmla="*/ 710628 h 918344"/>
              <a:gd name="connsiteX32" fmla="*/ 2002561 w 9517857"/>
              <a:gd name="connsiteY32" fmla="*/ 659905 h 918344"/>
              <a:gd name="connsiteX33" fmla="*/ 2135144 w 9517857"/>
              <a:gd name="connsiteY33" fmla="*/ 636489 h 918344"/>
              <a:gd name="connsiteX34" fmla="*/ 2448505 w 9517857"/>
              <a:gd name="connsiteY34" fmla="*/ 578838 h 918344"/>
              <a:gd name="connsiteX35" fmla="*/ 2658055 w 9517857"/>
              <a:gd name="connsiteY35" fmla="*/ 578715 h 918344"/>
              <a:gd name="connsiteX36" fmla="*/ 2693698 w 9517857"/>
              <a:gd name="connsiteY36" fmla="*/ 560017 h 918344"/>
              <a:gd name="connsiteX37" fmla="*/ 2699673 w 9517857"/>
              <a:gd name="connsiteY37" fmla="*/ 556388 h 918344"/>
              <a:gd name="connsiteX38" fmla="*/ 2727306 w 9517857"/>
              <a:gd name="connsiteY38" fmla="*/ 550686 h 918344"/>
              <a:gd name="connsiteX39" fmla="*/ 2730451 w 9517857"/>
              <a:gd name="connsiteY39" fmla="*/ 538046 h 918344"/>
              <a:gd name="connsiteX40" fmla="*/ 2768713 w 9517857"/>
              <a:gd name="connsiteY40" fmla="*/ 521563 h 918344"/>
              <a:gd name="connsiteX41" fmla="*/ 2820868 w 9517857"/>
              <a:gd name="connsiteY41" fmla="*/ 514148 h 918344"/>
              <a:gd name="connsiteX42" fmla="*/ 3073635 w 9517857"/>
              <a:gd name="connsiteY42" fmla="*/ 491282 h 918344"/>
              <a:gd name="connsiteX43" fmla="*/ 3222071 w 9517857"/>
              <a:gd name="connsiteY43" fmla="*/ 470547 h 918344"/>
              <a:gd name="connsiteX44" fmla="*/ 3274069 w 9517857"/>
              <a:gd name="connsiteY44" fmla="*/ 451593 h 918344"/>
              <a:gd name="connsiteX45" fmla="*/ 3349632 w 9517857"/>
              <a:gd name="connsiteY45" fmla="*/ 432571 h 918344"/>
              <a:gd name="connsiteX46" fmla="*/ 3479593 w 9517857"/>
              <a:gd name="connsiteY46" fmla="*/ 390425 h 918344"/>
              <a:gd name="connsiteX47" fmla="*/ 3750023 w 9517857"/>
              <a:gd name="connsiteY47" fmla="*/ 370666 h 918344"/>
              <a:gd name="connsiteX48" fmla="*/ 3844133 w 9517857"/>
              <a:gd name="connsiteY48" fmla="*/ 360636 h 918344"/>
              <a:gd name="connsiteX49" fmla="*/ 4037701 w 9517857"/>
              <a:gd name="connsiteY49" fmla="*/ 350573 h 918344"/>
              <a:gd name="connsiteX50" fmla="*/ 4266740 w 9517857"/>
              <a:gd name="connsiteY50" fmla="*/ 361442 h 918344"/>
              <a:gd name="connsiteX51" fmla="*/ 4430770 w 9517857"/>
              <a:gd name="connsiteY51" fmla="*/ 342631 h 918344"/>
              <a:gd name="connsiteX52" fmla="*/ 4512664 w 9517857"/>
              <a:gd name="connsiteY52" fmla="*/ 319936 h 918344"/>
              <a:gd name="connsiteX53" fmla="*/ 4616423 w 9517857"/>
              <a:gd name="connsiteY53" fmla="*/ 290902 h 918344"/>
              <a:gd name="connsiteX54" fmla="*/ 4691675 w 9517857"/>
              <a:gd name="connsiteY54" fmla="*/ 253999 h 918344"/>
              <a:gd name="connsiteX55" fmla="*/ 4689051 w 9517857"/>
              <a:gd name="connsiteY55" fmla="*/ 250956 h 918344"/>
              <a:gd name="connsiteX56" fmla="*/ 4719994 w 9517857"/>
              <a:gd name="connsiteY56" fmla="*/ 245295 h 918344"/>
              <a:gd name="connsiteX57" fmla="*/ 4752894 w 9517857"/>
              <a:gd name="connsiteY57" fmla="*/ 239863 h 918344"/>
              <a:gd name="connsiteX58" fmla="*/ 4769329 w 9517857"/>
              <a:gd name="connsiteY58" fmla="*/ 233573 h 918344"/>
              <a:gd name="connsiteX59" fmla="*/ 4775634 w 9517857"/>
              <a:gd name="connsiteY59" fmla="*/ 234051 h 918344"/>
              <a:gd name="connsiteX60" fmla="*/ 4790452 w 9517857"/>
              <a:gd name="connsiteY60" fmla="*/ 233560 h 918344"/>
              <a:gd name="connsiteX61" fmla="*/ 4789062 w 9517857"/>
              <a:gd name="connsiteY61" fmla="*/ 241912 h 918344"/>
              <a:gd name="connsiteX62" fmla="*/ 4827826 w 9517857"/>
              <a:gd name="connsiteY62" fmla="*/ 246965 h 918344"/>
              <a:gd name="connsiteX63" fmla="*/ 4892569 w 9517857"/>
              <a:gd name="connsiteY63" fmla="*/ 249921 h 918344"/>
              <a:gd name="connsiteX64" fmla="*/ 4896611 w 9517857"/>
              <a:gd name="connsiteY64" fmla="*/ 240436 h 918344"/>
              <a:gd name="connsiteX65" fmla="*/ 4917286 w 9517857"/>
              <a:gd name="connsiteY65" fmla="*/ 243647 h 918344"/>
              <a:gd name="connsiteX66" fmla="*/ 5060397 w 9517857"/>
              <a:gd name="connsiteY66" fmla="*/ 263676 h 918344"/>
              <a:gd name="connsiteX67" fmla="*/ 5244719 w 9517857"/>
              <a:gd name="connsiteY67" fmla="*/ 245243 h 918344"/>
              <a:gd name="connsiteX68" fmla="*/ 5358056 w 9517857"/>
              <a:gd name="connsiteY68" fmla="*/ 247236 h 918344"/>
              <a:gd name="connsiteX69" fmla="*/ 5426496 w 9517857"/>
              <a:gd name="connsiteY69" fmla="*/ 235130 h 918344"/>
              <a:gd name="connsiteX70" fmla="*/ 5497161 w 9517857"/>
              <a:gd name="connsiteY70" fmla="*/ 228796 h 918344"/>
              <a:gd name="connsiteX71" fmla="*/ 5923732 w 9517857"/>
              <a:gd name="connsiteY71" fmla="*/ 187376 h 918344"/>
              <a:gd name="connsiteX72" fmla="*/ 6194152 w 9517857"/>
              <a:gd name="connsiteY72" fmla="*/ 151760 h 918344"/>
              <a:gd name="connsiteX73" fmla="*/ 6281379 w 9517857"/>
              <a:gd name="connsiteY73" fmla="*/ 181614 h 918344"/>
              <a:gd name="connsiteX74" fmla="*/ 6374947 w 9517857"/>
              <a:gd name="connsiteY74" fmla="*/ 179787 h 918344"/>
              <a:gd name="connsiteX75" fmla="*/ 6448518 w 9517857"/>
              <a:gd name="connsiteY75" fmla="*/ 164366 h 918344"/>
              <a:gd name="connsiteX76" fmla="*/ 6544700 w 9517857"/>
              <a:gd name="connsiteY76" fmla="*/ 167149 h 918344"/>
              <a:gd name="connsiteX77" fmla="*/ 6648353 w 9517857"/>
              <a:gd name="connsiteY77" fmla="*/ 172238 h 918344"/>
              <a:gd name="connsiteX78" fmla="*/ 6736227 w 9517857"/>
              <a:gd name="connsiteY78" fmla="*/ 173204 h 918344"/>
              <a:gd name="connsiteX79" fmla="*/ 6977218 w 9517857"/>
              <a:gd name="connsiteY79" fmla="*/ 184277 h 918344"/>
              <a:gd name="connsiteX80" fmla="*/ 7065221 w 9517857"/>
              <a:gd name="connsiteY80" fmla="*/ 227519 h 918344"/>
              <a:gd name="connsiteX81" fmla="*/ 7366801 w 9517857"/>
              <a:gd name="connsiteY81" fmla="*/ 258938 h 918344"/>
              <a:gd name="connsiteX82" fmla="*/ 7433745 w 9517857"/>
              <a:gd name="connsiteY82" fmla="*/ 246959 h 918344"/>
              <a:gd name="connsiteX83" fmla="*/ 7644411 w 9517857"/>
              <a:gd name="connsiteY83" fmla="*/ 258974 h 918344"/>
              <a:gd name="connsiteX84" fmla="*/ 7825110 w 9517857"/>
              <a:gd name="connsiteY84" fmla="*/ 229097 h 918344"/>
              <a:gd name="connsiteX85" fmla="*/ 8106016 w 9517857"/>
              <a:gd name="connsiteY85" fmla="*/ 231005 h 918344"/>
              <a:gd name="connsiteX86" fmla="*/ 8256033 w 9517857"/>
              <a:gd name="connsiteY86" fmla="*/ 193701 h 918344"/>
              <a:gd name="connsiteX87" fmla="*/ 8551625 w 9517857"/>
              <a:gd name="connsiteY87" fmla="*/ 161505 h 918344"/>
              <a:gd name="connsiteX88" fmla="*/ 8791116 w 9517857"/>
              <a:gd name="connsiteY88" fmla="*/ 143137 h 918344"/>
              <a:gd name="connsiteX89" fmla="*/ 9002103 w 9517857"/>
              <a:gd name="connsiteY89" fmla="*/ 85529 h 918344"/>
              <a:gd name="connsiteX90" fmla="*/ 9110856 w 9517857"/>
              <a:gd name="connsiteY90" fmla="*/ 70985 h 918344"/>
              <a:gd name="connsiteX91" fmla="*/ 9268817 w 9517857"/>
              <a:gd name="connsiteY91" fmla="*/ 53070 h 918344"/>
              <a:gd name="connsiteX92" fmla="*/ 9316667 w 9517857"/>
              <a:gd name="connsiteY92" fmla="*/ 45035 h 918344"/>
              <a:gd name="connsiteX93" fmla="*/ 9428209 w 9517857"/>
              <a:gd name="connsiteY93" fmla="*/ 29911 h 918344"/>
              <a:gd name="connsiteX0" fmla="*/ 4686423 w 9517857"/>
              <a:gd name="connsiteY0" fmla="*/ 247907 h 918344"/>
              <a:gd name="connsiteX1" fmla="*/ 4689051 w 9517857"/>
              <a:gd name="connsiteY1" fmla="*/ 250956 h 918344"/>
              <a:gd name="connsiteX2" fmla="*/ 4687244 w 9517857"/>
              <a:gd name="connsiteY2" fmla="*/ 251286 h 918344"/>
              <a:gd name="connsiteX3" fmla="*/ 4686423 w 9517857"/>
              <a:gd name="connsiteY3" fmla="*/ 247907 h 918344"/>
              <a:gd name="connsiteX4" fmla="*/ 4685225 w 9517857"/>
              <a:gd name="connsiteY4" fmla="*/ 246518 h 918344"/>
              <a:gd name="connsiteX5" fmla="*/ 4686133 w 9517857"/>
              <a:gd name="connsiteY5" fmla="*/ 246715 h 918344"/>
              <a:gd name="connsiteX6" fmla="*/ 4686423 w 9517857"/>
              <a:gd name="connsiteY6" fmla="*/ 247907 h 918344"/>
              <a:gd name="connsiteX7" fmla="*/ 4685225 w 9517857"/>
              <a:gd name="connsiteY7" fmla="*/ 246518 h 918344"/>
              <a:gd name="connsiteX8" fmla="*/ 9428209 w 9517857"/>
              <a:gd name="connsiteY8" fmla="*/ 29911 h 918344"/>
              <a:gd name="connsiteX9" fmla="*/ 9517857 w 9517857"/>
              <a:gd name="connsiteY9" fmla="*/ 0 h 918344"/>
              <a:gd name="connsiteX10" fmla="*/ 9517857 w 9517857"/>
              <a:gd name="connsiteY10" fmla="*/ 918344 h 918344"/>
              <a:gd name="connsiteX11" fmla="*/ 14604 w 9517857"/>
              <a:gd name="connsiteY11" fmla="*/ 918344 h 918344"/>
              <a:gd name="connsiteX12" fmla="*/ 12841 w 9517857"/>
              <a:gd name="connsiteY12" fmla="*/ 917751 h 918344"/>
              <a:gd name="connsiteX13" fmla="*/ 93 w 9517857"/>
              <a:gd name="connsiteY13" fmla="*/ 912459 h 918344"/>
              <a:gd name="connsiteX14" fmla="*/ 58674 w 9517857"/>
              <a:gd name="connsiteY14" fmla="*/ 890310 h 918344"/>
              <a:gd name="connsiteX15" fmla="*/ 275005 w 9517857"/>
              <a:gd name="connsiteY15" fmla="*/ 807217 h 918344"/>
              <a:gd name="connsiteX16" fmla="*/ 587824 w 9517857"/>
              <a:gd name="connsiteY16" fmla="*/ 798183 h 918344"/>
              <a:gd name="connsiteX17" fmla="*/ 651826 w 9517857"/>
              <a:gd name="connsiteY17" fmla="*/ 738326 h 918344"/>
              <a:gd name="connsiteX18" fmla="*/ 727985 w 9517857"/>
              <a:gd name="connsiteY18" fmla="*/ 719814 h 918344"/>
              <a:gd name="connsiteX19" fmla="*/ 778982 w 9517857"/>
              <a:gd name="connsiteY19" fmla="*/ 710130 h 918344"/>
              <a:gd name="connsiteX20" fmla="*/ 849944 w 9517857"/>
              <a:gd name="connsiteY20" fmla="*/ 717975 h 918344"/>
              <a:gd name="connsiteX21" fmla="*/ 921659 w 9517857"/>
              <a:gd name="connsiteY21" fmla="*/ 712683 h 918344"/>
              <a:gd name="connsiteX22" fmla="*/ 930946 w 9517857"/>
              <a:gd name="connsiteY22" fmla="*/ 734034 h 918344"/>
              <a:gd name="connsiteX23" fmla="*/ 986250 w 9517857"/>
              <a:gd name="connsiteY23" fmla="*/ 713518 h 918344"/>
              <a:gd name="connsiteX24" fmla="*/ 1013752 w 9517857"/>
              <a:gd name="connsiteY24" fmla="*/ 713349 h 918344"/>
              <a:gd name="connsiteX25" fmla="*/ 1023734 w 9517857"/>
              <a:gd name="connsiteY25" fmla="*/ 718559 h 918344"/>
              <a:gd name="connsiteX26" fmla="*/ 1063207 w 9517857"/>
              <a:gd name="connsiteY26" fmla="*/ 715639 h 918344"/>
              <a:gd name="connsiteX27" fmla="*/ 1081980 w 9517857"/>
              <a:gd name="connsiteY27" fmla="*/ 738443 h 918344"/>
              <a:gd name="connsiteX28" fmla="*/ 1218120 w 9517857"/>
              <a:gd name="connsiteY28" fmla="*/ 713268 h 918344"/>
              <a:gd name="connsiteX29" fmla="*/ 1397459 w 9517857"/>
              <a:gd name="connsiteY29" fmla="*/ 691178 h 918344"/>
              <a:gd name="connsiteX30" fmla="*/ 1580688 w 9517857"/>
              <a:gd name="connsiteY30" fmla="*/ 693685 h 918344"/>
              <a:gd name="connsiteX31" fmla="*/ 1772334 w 9517857"/>
              <a:gd name="connsiteY31" fmla="*/ 710628 h 918344"/>
              <a:gd name="connsiteX32" fmla="*/ 2002561 w 9517857"/>
              <a:gd name="connsiteY32" fmla="*/ 659905 h 918344"/>
              <a:gd name="connsiteX33" fmla="*/ 2135144 w 9517857"/>
              <a:gd name="connsiteY33" fmla="*/ 636489 h 918344"/>
              <a:gd name="connsiteX34" fmla="*/ 2448505 w 9517857"/>
              <a:gd name="connsiteY34" fmla="*/ 578838 h 918344"/>
              <a:gd name="connsiteX35" fmla="*/ 2658055 w 9517857"/>
              <a:gd name="connsiteY35" fmla="*/ 578715 h 918344"/>
              <a:gd name="connsiteX36" fmla="*/ 2693698 w 9517857"/>
              <a:gd name="connsiteY36" fmla="*/ 560017 h 918344"/>
              <a:gd name="connsiteX37" fmla="*/ 2699673 w 9517857"/>
              <a:gd name="connsiteY37" fmla="*/ 556388 h 918344"/>
              <a:gd name="connsiteX38" fmla="*/ 2727306 w 9517857"/>
              <a:gd name="connsiteY38" fmla="*/ 550686 h 918344"/>
              <a:gd name="connsiteX39" fmla="*/ 2730451 w 9517857"/>
              <a:gd name="connsiteY39" fmla="*/ 538046 h 918344"/>
              <a:gd name="connsiteX40" fmla="*/ 2768713 w 9517857"/>
              <a:gd name="connsiteY40" fmla="*/ 521563 h 918344"/>
              <a:gd name="connsiteX41" fmla="*/ 2820868 w 9517857"/>
              <a:gd name="connsiteY41" fmla="*/ 514148 h 918344"/>
              <a:gd name="connsiteX42" fmla="*/ 3073635 w 9517857"/>
              <a:gd name="connsiteY42" fmla="*/ 491282 h 918344"/>
              <a:gd name="connsiteX43" fmla="*/ 3222071 w 9517857"/>
              <a:gd name="connsiteY43" fmla="*/ 470547 h 918344"/>
              <a:gd name="connsiteX44" fmla="*/ 3274069 w 9517857"/>
              <a:gd name="connsiteY44" fmla="*/ 451593 h 918344"/>
              <a:gd name="connsiteX45" fmla="*/ 3349632 w 9517857"/>
              <a:gd name="connsiteY45" fmla="*/ 432571 h 918344"/>
              <a:gd name="connsiteX46" fmla="*/ 3479593 w 9517857"/>
              <a:gd name="connsiteY46" fmla="*/ 390425 h 918344"/>
              <a:gd name="connsiteX47" fmla="*/ 3750023 w 9517857"/>
              <a:gd name="connsiteY47" fmla="*/ 370666 h 918344"/>
              <a:gd name="connsiteX48" fmla="*/ 3844133 w 9517857"/>
              <a:gd name="connsiteY48" fmla="*/ 360636 h 918344"/>
              <a:gd name="connsiteX49" fmla="*/ 4037701 w 9517857"/>
              <a:gd name="connsiteY49" fmla="*/ 350573 h 918344"/>
              <a:gd name="connsiteX50" fmla="*/ 4266740 w 9517857"/>
              <a:gd name="connsiteY50" fmla="*/ 361442 h 918344"/>
              <a:gd name="connsiteX51" fmla="*/ 4430770 w 9517857"/>
              <a:gd name="connsiteY51" fmla="*/ 342631 h 918344"/>
              <a:gd name="connsiteX52" fmla="*/ 4512664 w 9517857"/>
              <a:gd name="connsiteY52" fmla="*/ 319936 h 918344"/>
              <a:gd name="connsiteX53" fmla="*/ 4616423 w 9517857"/>
              <a:gd name="connsiteY53" fmla="*/ 290902 h 918344"/>
              <a:gd name="connsiteX54" fmla="*/ 4691675 w 9517857"/>
              <a:gd name="connsiteY54" fmla="*/ 253999 h 918344"/>
              <a:gd name="connsiteX55" fmla="*/ 4689051 w 9517857"/>
              <a:gd name="connsiteY55" fmla="*/ 250956 h 918344"/>
              <a:gd name="connsiteX56" fmla="*/ 4719994 w 9517857"/>
              <a:gd name="connsiteY56" fmla="*/ 245295 h 918344"/>
              <a:gd name="connsiteX57" fmla="*/ 4752894 w 9517857"/>
              <a:gd name="connsiteY57" fmla="*/ 239863 h 918344"/>
              <a:gd name="connsiteX58" fmla="*/ 4769329 w 9517857"/>
              <a:gd name="connsiteY58" fmla="*/ 233573 h 918344"/>
              <a:gd name="connsiteX59" fmla="*/ 4775634 w 9517857"/>
              <a:gd name="connsiteY59" fmla="*/ 234051 h 918344"/>
              <a:gd name="connsiteX60" fmla="*/ 4790452 w 9517857"/>
              <a:gd name="connsiteY60" fmla="*/ 233560 h 918344"/>
              <a:gd name="connsiteX61" fmla="*/ 4789062 w 9517857"/>
              <a:gd name="connsiteY61" fmla="*/ 241912 h 918344"/>
              <a:gd name="connsiteX62" fmla="*/ 4827826 w 9517857"/>
              <a:gd name="connsiteY62" fmla="*/ 246965 h 918344"/>
              <a:gd name="connsiteX63" fmla="*/ 4892569 w 9517857"/>
              <a:gd name="connsiteY63" fmla="*/ 249921 h 918344"/>
              <a:gd name="connsiteX64" fmla="*/ 4896611 w 9517857"/>
              <a:gd name="connsiteY64" fmla="*/ 240436 h 918344"/>
              <a:gd name="connsiteX65" fmla="*/ 4917286 w 9517857"/>
              <a:gd name="connsiteY65" fmla="*/ 243647 h 918344"/>
              <a:gd name="connsiteX66" fmla="*/ 5060397 w 9517857"/>
              <a:gd name="connsiteY66" fmla="*/ 263676 h 918344"/>
              <a:gd name="connsiteX67" fmla="*/ 5244719 w 9517857"/>
              <a:gd name="connsiteY67" fmla="*/ 245243 h 918344"/>
              <a:gd name="connsiteX68" fmla="*/ 5358056 w 9517857"/>
              <a:gd name="connsiteY68" fmla="*/ 247236 h 918344"/>
              <a:gd name="connsiteX69" fmla="*/ 5426496 w 9517857"/>
              <a:gd name="connsiteY69" fmla="*/ 235130 h 918344"/>
              <a:gd name="connsiteX70" fmla="*/ 5497161 w 9517857"/>
              <a:gd name="connsiteY70" fmla="*/ 228796 h 918344"/>
              <a:gd name="connsiteX71" fmla="*/ 5923732 w 9517857"/>
              <a:gd name="connsiteY71" fmla="*/ 187376 h 918344"/>
              <a:gd name="connsiteX72" fmla="*/ 6194152 w 9517857"/>
              <a:gd name="connsiteY72" fmla="*/ 151760 h 918344"/>
              <a:gd name="connsiteX73" fmla="*/ 6281379 w 9517857"/>
              <a:gd name="connsiteY73" fmla="*/ 181614 h 918344"/>
              <a:gd name="connsiteX74" fmla="*/ 6374947 w 9517857"/>
              <a:gd name="connsiteY74" fmla="*/ 179787 h 918344"/>
              <a:gd name="connsiteX75" fmla="*/ 6448518 w 9517857"/>
              <a:gd name="connsiteY75" fmla="*/ 164366 h 918344"/>
              <a:gd name="connsiteX76" fmla="*/ 6544700 w 9517857"/>
              <a:gd name="connsiteY76" fmla="*/ 167149 h 918344"/>
              <a:gd name="connsiteX77" fmla="*/ 6648353 w 9517857"/>
              <a:gd name="connsiteY77" fmla="*/ 172238 h 918344"/>
              <a:gd name="connsiteX78" fmla="*/ 6736227 w 9517857"/>
              <a:gd name="connsiteY78" fmla="*/ 173204 h 918344"/>
              <a:gd name="connsiteX79" fmla="*/ 6977218 w 9517857"/>
              <a:gd name="connsiteY79" fmla="*/ 184277 h 918344"/>
              <a:gd name="connsiteX80" fmla="*/ 7065221 w 9517857"/>
              <a:gd name="connsiteY80" fmla="*/ 227519 h 918344"/>
              <a:gd name="connsiteX81" fmla="*/ 7366801 w 9517857"/>
              <a:gd name="connsiteY81" fmla="*/ 258938 h 918344"/>
              <a:gd name="connsiteX82" fmla="*/ 7433745 w 9517857"/>
              <a:gd name="connsiteY82" fmla="*/ 246959 h 918344"/>
              <a:gd name="connsiteX83" fmla="*/ 7644411 w 9517857"/>
              <a:gd name="connsiteY83" fmla="*/ 258974 h 918344"/>
              <a:gd name="connsiteX84" fmla="*/ 7825110 w 9517857"/>
              <a:gd name="connsiteY84" fmla="*/ 229097 h 918344"/>
              <a:gd name="connsiteX85" fmla="*/ 8106016 w 9517857"/>
              <a:gd name="connsiteY85" fmla="*/ 231005 h 918344"/>
              <a:gd name="connsiteX86" fmla="*/ 8256033 w 9517857"/>
              <a:gd name="connsiteY86" fmla="*/ 193701 h 918344"/>
              <a:gd name="connsiteX87" fmla="*/ 8551625 w 9517857"/>
              <a:gd name="connsiteY87" fmla="*/ 161505 h 918344"/>
              <a:gd name="connsiteX88" fmla="*/ 8683515 w 9517857"/>
              <a:gd name="connsiteY88" fmla="*/ 143137 h 918344"/>
              <a:gd name="connsiteX89" fmla="*/ 9002103 w 9517857"/>
              <a:gd name="connsiteY89" fmla="*/ 85529 h 918344"/>
              <a:gd name="connsiteX90" fmla="*/ 9110856 w 9517857"/>
              <a:gd name="connsiteY90" fmla="*/ 70985 h 918344"/>
              <a:gd name="connsiteX91" fmla="*/ 9268817 w 9517857"/>
              <a:gd name="connsiteY91" fmla="*/ 53070 h 918344"/>
              <a:gd name="connsiteX92" fmla="*/ 9316667 w 9517857"/>
              <a:gd name="connsiteY92" fmla="*/ 45035 h 918344"/>
              <a:gd name="connsiteX93" fmla="*/ 9428209 w 9517857"/>
              <a:gd name="connsiteY93" fmla="*/ 29911 h 918344"/>
              <a:gd name="connsiteX0" fmla="*/ 4686423 w 9517857"/>
              <a:gd name="connsiteY0" fmla="*/ 247907 h 918344"/>
              <a:gd name="connsiteX1" fmla="*/ 4689051 w 9517857"/>
              <a:gd name="connsiteY1" fmla="*/ 250956 h 918344"/>
              <a:gd name="connsiteX2" fmla="*/ 4687244 w 9517857"/>
              <a:gd name="connsiteY2" fmla="*/ 251286 h 918344"/>
              <a:gd name="connsiteX3" fmla="*/ 4686423 w 9517857"/>
              <a:gd name="connsiteY3" fmla="*/ 247907 h 918344"/>
              <a:gd name="connsiteX4" fmla="*/ 4685225 w 9517857"/>
              <a:gd name="connsiteY4" fmla="*/ 246518 h 918344"/>
              <a:gd name="connsiteX5" fmla="*/ 4686133 w 9517857"/>
              <a:gd name="connsiteY5" fmla="*/ 246715 h 918344"/>
              <a:gd name="connsiteX6" fmla="*/ 4686423 w 9517857"/>
              <a:gd name="connsiteY6" fmla="*/ 247907 h 918344"/>
              <a:gd name="connsiteX7" fmla="*/ 4685225 w 9517857"/>
              <a:gd name="connsiteY7" fmla="*/ 246518 h 918344"/>
              <a:gd name="connsiteX8" fmla="*/ 9428209 w 9517857"/>
              <a:gd name="connsiteY8" fmla="*/ 29911 h 918344"/>
              <a:gd name="connsiteX9" fmla="*/ 9517857 w 9517857"/>
              <a:gd name="connsiteY9" fmla="*/ 0 h 918344"/>
              <a:gd name="connsiteX10" fmla="*/ 9517857 w 9517857"/>
              <a:gd name="connsiteY10" fmla="*/ 918344 h 918344"/>
              <a:gd name="connsiteX11" fmla="*/ 14604 w 9517857"/>
              <a:gd name="connsiteY11" fmla="*/ 918344 h 918344"/>
              <a:gd name="connsiteX12" fmla="*/ 12841 w 9517857"/>
              <a:gd name="connsiteY12" fmla="*/ 917751 h 918344"/>
              <a:gd name="connsiteX13" fmla="*/ 93 w 9517857"/>
              <a:gd name="connsiteY13" fmla="*/ 912459 h 918344"/>
              <a:gd name="connsiteX14" fmla="*/ 58674 w 9517857"/>
              <a:gd name="connsiteY14" fmla="*/ 890310 h 918344"/>
              <a:gd name="connsiteX15" fmla="*/ 275005 w 9517857"/>
              <a:gd name="connsiteY15" fmla="*/ 807217 h 918344"/>
              <a:gd name="connsiteX16" fmla="*/ 587824 w 9517857"/>
              <a:gd name="connsiteY16" fmla="*/ 798183 h 918344"/>
              <a:gd name="connsiteX17" fmla="*/ 651826 w 9517857"/>
              <a:gd name="connsiteY17" fmla="*/ 738326 h 918344"/>
              <a:gd name="connsiteX18" fmla="*/ 727985 w 9517857"/>
              <a:gd name="connsiteY18" fmla="*/ 719814 h 918344"/>
              <a:gd name="connsiteX19" fmla="*/ 778982 w 9517857"/>
              <a:gd name="connsiteY19" fmla="*/ 710130 h 918344"/>
              <a:gd name="connsiteX20" fmla="*/ 849944 w 9517857"/>
              <a:gd name="connsiteY20" fmla="*/ 717975 h 918344"/>
              <a:gd name="connsiteX21" fmla="*/ 921659 w 9517857"/>
              <a:gd name="connsiteY21" fmla="*/ 712683 h 918344"/>
              <a:gd name="connsiteX22" fmla="*/ 930946 w 9517857"/>
              <a:gd name="connsiteY22" fmla="*/ 734034 h 918344"/>
              <a:gd name="connsiteX23" fmla="*/ 986250 w 9517857"/>
              <a:gd name="connsiteY23" fmla="*/ 713518 h 918344"/>
              <a:gd name="connsiteX24" fmla="*/ 1013752 w 9517857"/>
              <a:gd name="connsiteY24" fmla="*/ 713349 h 918344"/>
              <a:gd name="connsiteX25" fmla="*/ 1023734 w 9517857"/>
              <a:gd name="connsiteY25" fmla="*/ 718559 h 918344"/>
              <a:gd name="connsiteX26" fmla="*/ 1063207 w 9517857"/>
              <a:gd name="connsiteY26" fmla="*/ 715639 h 918344"/>
              <a:gd name="connsiteX27" fmla="*/ 1081980 w 9517857"/>
              <a:gd name="connsiteY27" fmla="*/ 738443 h 918344"/>
              <a:gd name="connsiteX28" fmla="*/ 1218120 w 9517857"/>
              <a:gd name="connsiteY28" fmla="*/ 713268 h 918344"/>
              <a:gd name="connsiteX29" fmla="*/ 1397459 w 9517857"/>
              <a:gd name="connsiteY29" fmla="*/ 691178 h 918344"/>
              <a:gd name="connsiteX30" fmla="*/ 1580688 w 9517857"/>
              <a:gd name="connsiteY30" fmla="*/ 693685 h 918344"/>
              <a:gd name="connsiteX31" fmla="*/ 1772334 w 9517857"/>
              <a:gd name="connsiteY31" fmla="*/ 710628 h 918344"/>
              <a:gd name="connsiteX32" fmla="*/ 2002561 w 9517857"/>
              <a:gd name="connsiteY32" fmla="*/ 659905 h 918344"/>
              <a:gd name="connsiteX33" fmla="*/ 2135144 w 9517857"/>
              <a:gd name="connsiteY33" fmla="*/ 636489 h 918344"/>
              <a:gd name="connsiteX34" fmla="*/ 2448505 w 9517857"/>
              <a:gd name="connsiteY34" fmla="*/ 578838 h 918344"/>
              <a:gd name="connsiteX35" fmla="*/ 2658055 w 9517857"/>
              <a:gd name="connsiteY35" fmla="*/ 578715 h 918344"/>
              <a:gd name="connsiteX36" fmla="*/ 2693698 w 9517857"/>
              <a:gd name="connsiteY36" fmla="*/ 560017 h 918344"/>
              <a:gd name="connsiteX37" fmla="*/ 2699673 w 9517857"/>
              <a:gd name="connsiteY37" fmla="*/ 556388 h 918344"/>
              <a:gd name="connsiteX38" fmla="*/ 2727306 w 9517857"/>
              <a:gd name="connsiteY38" fmla="*/ 550686 h 918344"/>
              <a:gd name="connsiteX39" fmla="*/ 2730451 w 9517857"/>
              <a:gd name="connsiteY39" fmla="*/ 538046 h 918344"/>
              <a:gd name="connsiteX40" fmla="*/ 2768713 w 9517857"/>
              <a:gd name="connsiteY40" fmla="*/ 521563 h 918344"/>
              <a:gd name="connsiteX41" fmla="*/ 2820868 w 9517857"/>
              <a:gd name="connsiteY41" fmla="*/ 514148 h 918344"/>
              <a:gd name="connsiteX42" fmla="*/ 3073635 w 9517857"/>
              <a:gd name="connsiteY42" fmla="*/ 491282 h 918344"/>
              <a:gd name="connsiteX43" fmla="*/ 3222071 w 9517857"/>
              <a:gd name="connsiteY43" fmla="*/ 470547 h 918344"/>
              <a:gd name="connsiteX44" fmla="*/ 3274069 w 9517857"/>
              <a:gd name="connsiteY44" fmla="*/ 451593 h 918344"/>
              <a:gd name="connsiteX45" fmla="*/ 3349632 w 9517857"/>
              <a:gd name="connsiteY45" fmla="*/ 432571 h 918344"/>
              <a:gd name="connsiteX46" fmla="*/ 3479593 w 9517857"/>
              <a:gd name="connsiteY46" fmla="*/ 390425 h 918344"/>
              <a:gd name="connsiteX47" fmla="*/ 3750023 w 9517857"/>
              <a:gd name="connsiteY47" fmla="*/ 370666 h 918344"/>
              <a:gd name="connsiteX48" fmla="*/ 3844133 w 9517857"/>
              <a:gd name="connsiteY48" fmla="*/ 360636 h 918344"/>
              <a:gd name="connsiteX49" fmla="*/ 4037701 w 9517857"/>
              <a:gd name="connsiteY49" fmla="*/ 350573 h 918344"/>
              <a:gd name="connsiteX50" fmla="*/ 4266740 w 9517857"/>
              <a:gd name="connsiteY50" fmla="*/ 361442 h 918344"/>
              <a:gd name="connsiteX51" fmla="*/ 4430770 w 9517857"/>
              <a:gd name="connsiteY51" fmla="*/ 342631 h 918344"/>
              <a:gd name="connsiteX52" fmla="*/ 4512664 w 9517857"/>
              <a:gd name="connsiteY52" fmla="*/ 319936 h 918344"/>
              <a:gd name="connsiteX53" fmla="*/ 4616423 w 9517857"/>
              <a:gd name="connsiteY53" fmla="*/ 290902 h 918344"/>
              <a:gd name="connsiteX54" fmla="*/ 4691675 w 9517857"/>
              <a:gd name="connsiteY54" fmla="*/ 253999 h 918344"/>
              <a:gd name="connsiteX55" fmla="*/ 4689051 w 9517857"/>
              <a:gd name="connsiteY55" fmla="*/ 250956 h 918344"/>
              <a:gd name="connsiteX56" fmla="*/ 4719994 w 9517857"/>
              <a:gd name="connsiteY56" fmla="*/ 245295 h 918344"/>
              <a:gd name="connsiteX57" fmla="*/ 4752894 w 9517857"/>
              <a:gd name="connsiteY57" fmla="*/ 239863 h 918344"/>
              <a:gd name="connsiteX58" fmla="*/ 4769329 w 9517857"/>
              <a:gd name="connsiteY58" fmla="*/ 233573 h 918344"/>
              <a:gd name="connsiteX59" fmla="*/ 4775634 w 9517857"/>
              <a:gd name="connsiteY59" fmla="*/ 234051 h 918344"/>
              <a:gd name="connsiteX60" fmla="*/ 4790452 w 9517857"/>
              <a:gd name="connsiteY60" fmla="*/ 233560 h 918344"/>
              <a:gd name="connsiteX61" fmla="*/ 4789062 w 9517857"/>
              <a:gd name="connsiteY61" fmla="*/ 241912 h 918344"/>
              <a:gd name="connsiteX62" fmla="*/ 4827826 w 9517857"/>
              <a:gd name="connsiteY62" fmla="*/ 246965 h 918344"/>
              <a:gd name="connsiteX63" fmla="*/ 4892569 w 9517857"/>
              <a:gd name="connsiteY63" fmla="*/ 249921 h 918344"/>
              <a:gd name="connsiteX64" fmla="*/ 4896611 w 9517857"/>
              <a:gd name="connsiteY64" fmla="*/ 240436 h 918344"/>
              <a:gd name="connsiteX65" fmla="*/ 4917286 w 9517857"/>
              <a:gd name="connsiteY65" fmla="*/ 243647 h 918344"/>
              <a:gd name="connsiteX66" fmla="*/ 5060397 w 9517857"/>
              <a:gd name="connsiteY66" fmla="*/ 263676 h 918344"/>
              <a:gd name="connsiteX67" fmla="*/ 5244719 w 9517857"/>
              <a:gd name="connsiteY67" fmla="*/ 245243 h 918344"/>
              <a:gd name="connsiteX68" fmla="*/ 5358056 w 9517857"/>
              <a:gd name="connsiteY68" fmla="*/ 247236 h 918344"/>
              <a:gd name="connsiteX69" fmla="*/ 5426496 w 9517857"/>
              <a:gd name="connsiteY69" fmla="*/ 235130 h 918344"/>
              <a:gd name="connsiteX70" fmla="*/ 5497161 w 9517857"/>
              <a:gd name="connsiteY70" fmla="*/ 228796 h 918344"/>
              <a:gd name="connsiteX71" fmla="*/ 5923732 w 9517857"/>
              <a:gd name="connsiteY71" fmla="*/ 187376 h 918344"/>
              <a:gd name="connsiteX72" fmla="*/ 6194152 w 9517857"/>
              <a:gd name="connsiteY72" fmla="*/ 151760 h 918344"/>
              <a:gd name="connsiteX73" fmla="*/ 6281379 w 9517857"/>
              <a:gd name="connsiteY73" fmla="*/ 181614 h 918344"/>
              <a:gd name="connsiteX74" fmla="*/ 6374947 w 9517857"/>
              <a:gd name="connsiteY74" fmla="*/ 179787 h 918344"/>
              <a:gd name="connsiteX75" fmla="*/ 6448518 w 9517857"/>
              <a:gd name="connsiteY75" fmla="*/ 164366 h 918344"/>
              <a:gd name="connsiteX76" fmla="*/ 6544700 w 9517857"/>
              <a:gd name="connsiteY76" fmla="*/ 167149 h 918344"/>
              <a:gd name="connsiteX77" fmla="*/ 6648353 w 9517857"/>
              <a:gd name="connsiteY77" fmla="*/ 172238 h 918344"/>
              <a:gd name="connsiteX78" fmla="*/ 6736227 w 9517857"/>
              <a:gd name="connsiteY78" fmla="*/ 173204 h 918344"/>
              <a:gd name="connsiteX79" fmla="*/ 6977218 w 9517857"/>
              <a:gd name="connsiteY79" fmla="*/ 184277 h 918344"/>
              <a:gd name="connsiteX80" fmla="*/ 7065221 w 9517857"/>
              <a:gd name="connsiteY80" fmla="*/ 227519 h 918344"/>
              <a:gd name="connsiteX81" fmla="*/ 7366801 w 9517857"/>
              <a:gd name="connsiteY81" fmla="*/ 258938 h 918344"/>
              <a:gd name="connsiteX82" fmla="*/ 7433745 w 9517857"/>
              <a:gd name="connsiteY82" fmla="*/ 246959 h 918344"/>
              <a:gd name="connsiteX83" fmla="*/ 7644411 w 9517857"/>
              <a:gd name="connsiteY83" fmla="*/ 258974 h 918344"/>
              <a:gd name="connsiteX84" fmla="*/ 7825110 w 9517857"/>
              <a:gd name="connsiteY84" fmla="*/ 229097 h 918344"/>
              <a:gd name="connsiteX85" fmla="*/ 8163955 w 9517857"/>
              <a:gd name="connsiteY85" fmla="*/ 205605 h 918344"/>
              <a:gd name="connsiteX86" fmla="*/ 8256033 w 9517857"/>
              <a:gd name="connsiteY86" fmla="*/ 193701 h 918344"/>
              <a:gd name="connsiteX87" fmla="*/ 8551625 w 9517857"/>
              <a:gd name="connsiteY87" fmla="*/ 161505 h 918344"/>
              <a:gd name="connsiteX88" fmla="*/ 8683515 w 9517857"/>
              <a:gd name="connsiteY88" fmla="*/ 143137 h 918344"/>
              <a:gd name="connsiteX89" fmla="*/ 9002103 w 9517857"/>
              <a:gd name="connsiteY89" fmla="*/ 85529 h 918344"/>
              <a:gd name="connsiteX90" fmla="*/ 9110856 w 9517857"/>
              <a:gd name="connsiteY90" fmla="*/ 70985 h 918344"/>
              <a:gd name="connsiteX91" fmla="*/ 9268817 w 9517857"/>
              <a:gd name="connsiteY91" fmla="*/ 53070 h 918344"/>
              <a:gd name="connsiteX92" fmla="*/ 9316667 w 9517857"/>
              <a:gd name="connsiteY92" fmla="*/ 45035 h 918344"/>
              <a:gd name="connsiteX93" fmla="*/ 9428209 w 9517857"/>
              <a:gd name="connsiteY93" fmla="*/ 29911 h 9183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</a:cxnLst>
            <a:rect l="l" t="t" r="r" b="b"/>
            <a:pathLst>
              <a:path w="9517857" h="918344">
                <a:moveTo>
                  <a:pt x="4686423" y="247907"/>
                </a:moveTo>
                <a:lnTo>
                  <a:pt x="4689051" y="250956"/>
                </a:lnTo>
                <a:lnTo>
                  <a:pt x="4687244" y="251286"/>
                </a:lnTo>
                <a:lnTo>
                  <a:pt x="4686423" y="247907"/>
                </a:lnTo>
                <a:close/>
                <a:moveTo>
                  <a:pt x="4685225" y="246518"/>
                </a:moveTo>
                <a:cubicBezTo>
                  <a:pt x="4688837" y="243186"/>
                  <a:pt x="4687468" y="244586"/>
                  <a:pt x="4686133" y="246715"/>
                </a:cubicBezTo>
                <a:cubicBezTo>
                  <a:pt x="4686230" y="247112"/>
                  <a:pt x="4686326" y="247510"/>
                  <a:pt x="4686423" y="247907"/>
                </a:cubicBezTo>
                <a:lnTo>
                  <a:pt x="4685225" y="246518"/>
                </a:lnTo>
                <a:close/>
                <a:moveTo>
                  <a:pt x="9428209" y="29911"/>
                </a:moveTo>
                <a:lnTo>
                  <a:pt x="9517857" y="0"/>
                </a:lnTo>
                <a:lnTo>
                  <a:pt x="9517857" y="918344"/>
                </a:lnTo>
                <a:lnTo>
                  <a:pt x="14604" y="918344"/>
                </a:lnTo>
                <a:lnTo>
                  <a:pt x="12841" y="917751"/>
                </a:lnTo>
                <a:cubicBezTo>
                  <a:pt x="4532" y="914852"/>
                  <a:pt x="-773" y="912795"/>
                  <a:pt x="93" y="912459"/>
                </a:cubicBezTo>
                <a:cubicBezTo>
                  <a:pt x="172" y="912286"/>
                  <a:pt x="58594" y="890483"/>
                  <a:pt x="58674" y="890310"/>
                </a:cubicBezTo>
                <a:cubicBezTo>
                  <a:pt x="127436" y="929602"/>
                  <a:pt x="206243" y="828214"/>
                  <a:pt x="275005" y="807217"/>
                </a:cubicBezTo>
                <a:cubicBezTo>
                  <a:pt x="303983" y="806075"/>
                  <a:pt x="504960" y="777363"/>
                  <a:pt x="587824" y="798183"/>
                </a:cubicBezTo>
                <a:cubicBezTo>
                  <a:pt x="598733" y="769336"/>
                  <a:pt x="682904" y="785912"/>
                  <a:pt x="651826" y="738326"/>
                </a:cubicBezTo>
                <a:cubicBezTo>
                  <a:pt x="688440" y="737850"/>
                  <a:pt x="753255" y="750384"/>
                  <a:pt x="727985" y="719814"/>
                </a:cubicBezTo>
                <a:cubicBezTo>
                  <a:pt x="739648" y="718737"/>
                  <a:pt x="775717" y="715075"/>
                  <a:pt x="778982" y="710130"/>
                </a:cubicBezTo>
                <a:cubicBezTo>
                  <a:pt x="779189" y="709395"/>
                  <a:pt x="849736" y="718709"/>
                  <a:pt x="849944" y="717975"/>
                </a:cubicBezTo>
                <a:lnTo>
                  <a:pt x="921659" y="712683"/>
                </a:lnTo>
                <a:lnTo>
                  <a:pt x="930946" y="734034"/>
                </a:lnTo>
                <a:lnTo>
                  <a:pt x="986250" y="713518"/>
                </a:lnTo>
                <a:lnTo>
                  <a:pt x="1013752" y="713349"/>
                </a:lnTo>
                <a:lnTo>
                  <a:pt x="1023734" y="718559"/>
                </a:lnTo>
                <a:cubicBezTo>
                  <a:pt x="1033291" y="721264"/>
                  <a:pt x="1045398" y="721382"/>
                  <a:pt x="1063207" y="715639"/>
                </a:cubicBezTo>
                <a:lnTo>
                  <a:pt x="1081980" y="738443"/>
                </a:lnTo>
                <a:lnTo>
                  <a:pt x="1218120" y="713268"/>
                </a:lnTo>
                <a:cubicBezTo>
                  <a:pt x="1230137" y="716150"/>
                  <a:pt x="1387179" y="685167"/>
                  <a:pt x="1397459" y="691178"/>
                </a:cubicBezTo>
                <a:cubicBezTo>
                  <a:pt x="1490025" y="704972"/>
                  <a:pt x="1465878" y="715592"/>
                  <a:pt x="1580688" y="693685"/>
                </a:cubicBezTo>
                <a:cubicBezTo>
                  <a:pt x="1607067" y="704367"/>
                  <a:pt x="1719477" y="658227"/>
                  <a:pt x="1772334" y="710628"/>
                </a:cubicBezTo>
                <a:cubicBezTo>
                  <a:pt x="1745536" y="644812"/>
                  <a:pt x="1976078" y="716424"/>
                  <a:pt x="2002561" y="659905"/>
                </a:cubicBezTo>
                <a:cubicBezTo>
                  <a:pt x="2045346" y="660345"/>
                  <a:pt x="2166676" y="654379"/>
                  <a:pt x="2135144" y="636489"/>
                </a:cubicBezTo>
                <a:cubicBezTo>
                  <a:pt x="2226022" y="620861"/>
                  <a:pt x="2361353" y="588467"/>
                  <a:pt x="2448505" y="578838"/>
                </a:cubicBezTo>
                <a:cubicBezTo>
                  <a:pt x="2446114" y="626857"/>
                  <a:pt x="2632278" y="528268"/>
                  <a:pt x="2658055" y="578715"/>
                </a:cubicBezTo>
                <a:cubicBezTo>
                  <a:pt x="2670795" y="573569"/>
                  <a:pt x="2682322" y="566993"/>
                  <a:pt x="2693698" y="560017"/>
                </a:cubicBezTo>
                <a:lnTo>
                  <a:pt x="2699673" y="556388"/>
                </a:lnTo>
                <a:lnTo>
                  <a:pt x="2727306" y="550686"/>
                </a:lnTo>
                <a:lnTo>
                  <a:pt x="2730451" y="538046"/>
                </a:lnTo>
                <a:lnTo>
                  <a:pt x="2768713" y="521563"/>
                </a:lnTo>
                <a:cubicBezTo>
                  <a:pt x="2783756" y="517092"/>
                  <a:pt x="2800788" y="514279"/>
                  <a:pt x="2820868" y="514148"/>
                </a:cubicBezTo>
                <a:cubicBezTo>
                  <a:pt x="2894791" y="532873"/>
                  <a:pt x="2981506" y="465495"/>
                  <a:pt x="3073635" y="491282"/>
                </a:cubicBezTo>
                <a:cubicBezTo>
                  <a:pt x="3106872" y="496612"/>
                  <a:pt x="3205785" y="487706"/>
                  <a:pt x="3222071" y="470547"/>
                </a:cubicBezTo>
                <a:cubicBezTo>
                  <a:pt x="3242193" y="465502"/>
                  <a:pt x="3267163" y="469124"/>
                  <a:pt x="3274069" y="451593"/>
                </a:cubicBezTo>
                <a:cubicBezTo>
                  <a:pt x="3286659" y="430153"/>
                  <a:pt x="3363648" y="455559"/>
                  <a:pt x="3349632" y="432571"/>
                </a:cubicBezTo>
                <a:lnTo>
                  <a:pt x="3479593" y="390425"/>
                </a:lnTo>
                <a:cubicBezTo>
                  <a:pt x="3546325" y="380108"/>
                  <a:pt x="3689266" y="375631"/>
                  <a:pt x="3750023" y="370666"/>
                </a:cubicBezTo>
                <a:cubicBezTo>
                  <a:pt x="3810780" y="365701"/>
                  <a:pt x="3796187" y="363985"/>
                  <a:pt x="3844133" y="360636"/>
                </a:cubicBezTo>
                <a:cubicBezTo>
                  <a:pt x="3892079" y="357287"/>
                  <a:pt x="4007004" y="338828"/>
                  <a:pt x="4037701" y="350573"/>
                </a:cubicBezTo>
                <a:cubicBezTo>
                  <a:pt x="4133026" y="338752"/>
                  <a:pt x="4159924" y="363178"/>
                  <a:pt x="4266740" y="361442"/>
                </a:cubicBezTo>
                <a:cubicBezTo>
                  <a:pt x="4385770" y="354362"/>
                  <a:pt x="4314535" y="340131"/>
                  <a:pt x="4430770" y="342631"/>
                </a:cubicBezTo>
                <a:cubicBezTo>
                  <a:pt x="4439969" y="322582"/>
                  <a:pt x="4478290" y="314633"/>
                  <a:pt x="4512664" y="319936"/>
                </a:cubicBezTo>
                <a:cubicBezTo>
                  <a:pt x="4570011" y="315126"/>
                  <a:pt x="4549085" y="269587"/>
                  <a:pt x="4616423" y="290902"/>
                </a:cubicBezTo>
                <a:cubicBezTo>
                  <a:pt x="4599641" y="270265"/>
                  <a:pt x="4692085" y="269204"/>
                  <a:pt x="4691675" y="253999"/>
                </a:cubicBezTo>
                <a:lnTo>
                  <a:pt x="4689051" y="250956"/>
                </a:lnTo>
                <a:lnTo>
                  <a:pt x="4719994" y="245295"/>
                </a:lnTo>
                <a:cubicBezTo>
                  <a:pt x="4732635" y="242763"/>
                  <a:pt x="4745300" y="240323"/>
                  <a:pt x="4752894" y="239863"/>
                </a:cubicBezTo>
                <a:lnTo>
                  <a:pt x="4769329" y="233573"/>
                </a:lnTo>
                <a:lnTo>
                  <a:pt x="4775634" y="234051"/>
                </a:lnTo>
                <a:lnTo>
                  <a:pt x="4790452" y="233560"/>
                </a:lnTo>
                <a:lnTo>
                  <a:pt x="4789062" y="241912"/>
                </a:lnTo>
                <a:cubicBezTo>
                  <a:pt x="4786342" y="249920"/>
                  <a:pt x="4804560" y="248619"/>
                  <a:pt x="4827826" y="246965"/>
                </a:cubicBezTo>
                <a:cubicBezTo>
                  <a:pt x="4875782" y="239557"/>
                  <a:pt x="4874112" y="283401"/>
                  <a:pt x="4892569" y="249921"/>
                </a:cubicBezTo>
                <a:lnTo>
                  <a:pt x="4896611" y="240436"/>
                </a:lnTo>
                <a:lnTo>
                  <a:pt x="4917286" y="243647"/>
                </a:lnTo>
                <a:cubicBezTo>
                  <a:pt x="4944584" y="247520"/>
                  <a:pt x="5004445" y="259177"/>
                  <a:pt x="5060397" y="263676"/>
                </a:cubicBezTo>
                <a:cubicBezTo>
                  <a:pt x="5093356" y="238577"/>
                  <a:pt x="5149615" y="249939"/>
                  <a:pt x="5244719" y="245243"/>
                </a:cubicBezTo>
                <a:cubicBezTo>
                  <a:pt x="5280563" y="216460"/>
                  <a:pt x="5287005" y="287909"/>
                  <a:pt x="5358056" y="247236"/>
                </a:cubicBezTo>
                <a:cubicBezTo>
                  <a:pt x="5361752" y="250245"/>
                  <a:pt x="5403312" y="238203"/>
                  <a:pt x="5426496" y="235130"/>
                </a:cubicBezTo>
                <a:cubicBezTo>
                  <a:pt x="5449679" y="232057"/>
                  <a:pt x="5473549" y="245599"/>
                  <a:pt x="5497161" y="228796"/>
                </a:cubicBezTo>
                <a:cubicBezTo>
                  <a:pt x="5639351" y="214989"/>
                  <a:pt x="5707050" y="169433"/>
                  <a:pt x="5923732" y="187376"/>
                </a:cubicBezTo>
                <a:cubicBezTo>
                  <a:pt x="5980821" y="181528"/>
                  <a:pt x="6140195" y="184371"/>
                  <a:pt x="6194152" y="151760"/>
                </a:cubicBezTo>
                <a:cubicBezTo>
                  <a:pt x="6187280" y="177771"/>
                  <a:pt x="6304222" y="153398"/>
                  <a:pt x="6281379" y="181614"/>
                </a:cubicBezTo>
                <a:cubicBezTo>
                  <a:pt x="6321899" y="201807"/>
                  <a:pt x="6335111" y="162578"/>
                  <a:pt x="6374947" y="179787"/>
                </a:cubicBezTo>
                <a:cubicBezTo>
                  <a:pt x="6417404" y="181324"/>
                  <a:pt x="6402484" y="169682"/>
                  <a:pt x="6448518" y="164366"/>
                </a:cubicBezTo>
                <a:cubicBezTo>
                  <a:pt x="6504958" y="162476"/>
                  <a:pt x="6493438" y="111191"/>
                  <a:pt x="6544700" y="167149"/>
                </a:cubicBezTo>
                <a:cubicBezTo>
                  <a:pt x="6601507" y="148685"/>
                  <a:pt x="6566269" y="164374"/>
                  <a:pt x="6648353" y="172238"/>
                </a:cubicBezTo>
                <a:cubicBezTo>
                  <a:pt x="6680008" y="155211"/>
                  <a:pt x="6707960" y="160661"/>
                  <a:pt x="6736227" y="173204"/>
                </a:cubicBezTo>
                <a:cubicBezTo>
                  <a:pt x="6813963" y="164272"/>
                  <a:pt x="6888143" y="181284"/>
                  <a:pt x="6977218" y="184277"/>
                </a:cubicBezTo>
                <a:cubicBezTo>
                  <a:pt x="7040424" y="188306"/>
                  <a:pt x="7000291" y="215076"/>
                  <a:pt x="7065221" y="227519"/>
                </a:cubicBezTo>
                <a:cubicBezTo>
                  <a:pt x="7130151" y="239962"/>
                  <a:pt x="7277790" y="252523"/>
                  <a:pt x="7366801" y="258938"/>
                </a:cubicBezTo>
                <a:cubicBezTo>
                  <a:pt x="7377311" y="252420"/>
                  <a:pt x="7435314" y="238566"/>
                  <a:pt x="7433745" y="246959"/>
                </a:cubicBezTo>
                <a:cubicBezTo>
                  <a:pt x="7446076" y="243878"/>
                  <a:pt x="7639946" y="245807"/>
                  <a:pt x="7644411" y="258974"/>
                </a:cubicBezTo>
                <a:cubicBezTo>
                  <a:pt x="7708015" y="258000"/>
                  <a:pt x="7770249" y="247712"/>
                  <a:pt x="7825110" y="229097"/>
                </a:cubicBezTo>
                <a:cubicBezTo>
                  <a:pt x="7908941" y="220202"/>
                  <a:pt x="8092134" y="211504"/>
                  <a:pt x="8163955" y="205605"/>
                </a:cubicBezTo>
                <a:cubicBezTo>
                  <a:pt x="8183007" y="196598"/>
                  <a:pt x="8225048" y="207087"/>
                  <a:pt x="8256033" y="193701"/>
                </a:cubicBezTo>
                <a:cubicBezTo>
                  <a:pt x="8334440" y="185293"/>
                  <a:pt x="8474968" y="164062"/>
                  <a:pt x="8551625" y="161505"/>
                </a:cubicBezTo>
                <a:cubicBezTo>
                  <a:pt x="8649083" y="153078"/>
                  <a:pt x="8607056" y="154741"/>
                  <a:pt x="8683515" y="143137"/>
                </a:cubicBezTo>
                <a:cubicBezTo>
                  <a:pt x="8746256" y="121084"/>
                  <a:pt x="8897706" y="99547"/>
                  <a:pt x="9002103" y="85529"/>
                </a:cubicBezTo>
                <a:cubicBezTo>
                  <a:pt x="9018826" y="50490"/>
                  <a:pt x="9112524" y="108345"/>
                  <a:pt x="9110856" y="70985"/>
                </a:cubicBezTo>
                <a:cubicBezTo>
                  <a:pt x="9148189" y="94238"/>
                  <a:pt x="9209809" y="53273"/>
                  <a:pt x="9268817" y="53070"/>
                </a:cubicBezTo>
                <a:cubicBezTo>
                  <a:pt x="9279135" y="35985"/>
                  <a:pt x="9292736" y="36508"/>
                  <a:pt x="9316667" y="45035"/>
                </a:cubicBezTo>
                <a:cubicBezTo>
                  <a:pt x="9352186" y="45850"/>
                  <a:pt x="9390008" y="39787"/>
                  <a:pt x="9428209" y="29911"/>
                </a:cubicBez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77199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65C549-0E52-7943-6D15-64AC7862D3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AZA DE DAT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E7EF72F-C0E8-BC4A-8439-08387E9281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90688"/>
            <a:ext cx="10515600" cy="4351338"/>
          </a:xfrm>
        </p:spPr>
        <p:txBody>
          <a:bodyPr>
            <a:normAutofit fontScale="92500" lnSpcReduction="1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ro-RO" dirty="0"/>
              <a:t>Contine 10 clase cu un nr diferit de imagini atat pentru partea de antrenare cat si pentru testar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o-RO" dirty="0"/>
              <a:t>Am ales 3 clase avand in vedere ca numarul de imagini din fiecare clasa sa fie aproximativ acelasi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o-RO" dirty="0"/>
              <a:t>Clase alese</a:t>
            </a:r>
            <a:r>
              <a:rPr lang="en-US" dirty="0"/>
              <a:t>:</a:t>
            </a:r>
          </a:p>
          <a:p>
            <a:r>
              <a:rPr lang="en-US" dirty="0"/>
              <a:t>	- </a:t>
            </a:r>
            <a:r>
              <a:rPr lang="ro-RO" dirty="0"/>
              <a:t>a</a:t>
            </a:r>
            <a:r>
              <a:rPr lang="en-US" dirty="0" err="1"/>
              <a:t>ltar</a:t>
            </a:r>
            <a:endParaRPr lang="en-US" dirty="0"/>
          </a:p>
          <a:p>
            <a:r>
              <a:rPr lang="en-US" dirty="0"/>
              <a:t>	- </a:t>
            </a:r>
            <a:r>
              <a:rPr lang="en-US" dirty="0" err="1"/>
              <a:t>stained_glass</a:t>
            </a:r>
            <a:endParaRPr lang="ro-RO" dirty="0"/>
          </a:p>
          <a:p>
            <a:r>
              <a:rPr lang="en-US" dirty="0"/>
              <a:t>	- </a:t>
            </a:r>
            <a:r>
              <a:rPr lang="ro-RO" dirty="0"/>
              <a:t>Gargoyle</a:t>
            </a:r>
            <a:br>
              <a:rPr lang="en-US" dirty="0"/>
            </a:br>
            <a:endParaRPr lang="ro-RO" dirty="0"/>
          </a:p>
          <a:p>
            <a:r>
              <a:rPr lang="ro-RO" dirty="0"/>
              <a:t>Antrenarea se face pentru 800 de imagini din fiecare clasa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38599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39D85A-3D4C-73B4-2D58-68289E9A10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rhitectura utilizata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1BA93D83-1A72-AD5E-6AC0-E8CA671488E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939074" y="1690688"/>
            <a:ext cx="7190905" cy="4351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50959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CBE4B1-B581-0C17-BF0D-AD21EC7A6D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ntrenare</a:t>
            </a:r>
          </a:p>
        </p:txBody>
      </p:sp>
      <p:pic>
        <p:nvPicPr>
          <p:cNvPr id="4" name="Content Placeholder 3" descr="A screenshot of a graph&#10;&#10;Description automatically generated">
            <a:extLst>
              <a:ext uri="{FF2B5EF4-FFF2-40B4-BE49-F238E27FC236}">
                <a16:creationId xmlns:a16="http://schemas.microsoft.com/office/drawing/2014/main" id="{6CB8EAAB-6636-4684-3C73-1CF02E53DE0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38200" y="1690688"/>
            <a:ext cx="5662700" cy="4351338"/>
          </a:xfrm>
          <a:prstGeom prst="rect">
            <a:avLst/>
          </a:prstGeom>
        </p:spPr>
      </p:pic>
      <p:pic>
        <p:nvPicPr>
          <p:cNvPr id="5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364C0B1A-6934-81BF-27B8-E3D9BEFACE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74182" y="745686"/>
            <a:ext cx="3268138" cy="5366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13324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81CCA7-D68F-F409-8AA8-56FF26DC0D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erformanta</a:t>
            </a:r>
          </a:p>
        </p:txBody>
      </p:sp>
      <p:pic>
        <p:nvPicPr>
          <p:cNvPr id="4" name="Picture 3" descr="A graph with a green line and a blue circle&#10;&#10;Description automatically generated">
            <a:extLst>
              <a:ext uri="{FF2B5EF4-FFF2-40B4-BE49-F238E27FC236}">
                <a16:creationId xmlns:a16="http://schemas.microsoft.com/office/drawing/2014/main" id="{A30B4045-C9CF-2673-37F3-07A3070D45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2212" y="1690688"/>
            <a:ext cx="5683801" cy="4362381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B5A21817-3F0A-962D-D34F-480AA5D99FC4}"/>
              </a:ext>
            </a:extLst>
          </p:cNvPr>
          <p:cNvSpPr txBox="1">
            <a:spLocks/>
          </p:cNvSpPr>
          <p:nvPr/>
        </p:nvSpPr>
        <p:spPr>
          <a:xfrm>
            <a:off x="7646533" y="1875403"/>
            <a:ext cx="4545467" cy="380117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7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dirty="0" err="1"/>
              <a:t>Acuratetea</a:t>
            </a:r>
            <a:r>
              <a:rPr lang="en-US" dirty="0"/>
              <a:t> </a:t>
            </a:r>
            <a:r>
              <a:rPr lang="en-US" dirty="0" err="1"/>
              <a:t>obtinuta</a:t>
            </a:r>
            <a:r>
              <a:rPr lang="en-US" dirty="0"/>
              <a:t>: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FA4208D-89E7-D47D-C9AB-F97156BA8D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46533" y="2440235"/>
            <a:ext cx="2724150" cy="819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01413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831D49-1816-3C4F-635B-E5D4D0412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estar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12AA8AD-B199-2FE1-3AE8-DDE32B9D89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6006" y="2043131"/>
            <a:ext cx="5246525" cy="4050383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CF6259FA-4E4D-084C-084C-E73FC517F006}"/>
              </a:ext>
            </a:extLst>
          </p:cNvPr>
          <p:cNvSpPr txBox="1">
            <a:spLocks/>
          </p:cNvSpPr>
          <p:nvPr/>
        </p:nvSpPr>
        <p:spPr>
          <a:xfrm>
            <a:off x="838200" y="1359817"/>
            <a:ext cx="8877300" cy="685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dirty="0"/>
              <a:t>M</a:t>
            </a:r>
            <a:r>
              <a:rPr lang="ro-RO" dirty="0"/>
              <a:t>atrice de confuzie</a:t>
            </a:r>
            <a:r>
              <a:rPr lang="en-US" dirty="0"/>
              <a:t> </a:t>
            </a:r>
            <a:r>
              <a:rPr lang="en-US" dirty="0" err="1"/>
              <a:t>pentru</a:t>
            </a:r>
            <a:r>
              <a:rPr lang="en-US" dirty="0"/>
              <a:t> </a:t>
            </a:r>
            <a:r>
              <a:rPr lang="en-US" dirty="0" err="1"/>
              <a:t>lotul</a:t>
            </a:r>
            <a:r>
              <a:rPr lang="en-US" dirty="0"/>
              <a:t> de test                         </a:t>
            </a:r>
            <a:r>
              <a:rPr lang="en-US" dirty="0" err="1"/>
              <a:t>Acuratetea</a:t>
            </a:r>
            <a:r>
              <a:rPr lang="en-US" dirty="0"/>
              <a:t>: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AD1E088-9540-EC45-B04C-1EE890E678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43775" y="2428761"/>
            <a:ext cx="2371725" cy="85725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F1ACA93-35B8-B8B2-7AAA-757AEA90F0B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23157" y="3705174"/>
            <a:ext cx="4784685" cy="11318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20603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120518-AFBA-832E-6500-B3CB66ED21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lasificare imagine noua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9D31973-4CE0-72DE-24E9-6D8F9FB4197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199" y="1421388"/>
            <a:ext cx="1844041" cy="154458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274AB18-FD76-89B4-DB05-728D5897E3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10064" y="1421388"/>
            <a:ext cx="1924107" cy="154458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9AED9D3-3700-C632-D9FB-8C1E138938A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3912" y="3215953"/>
            <a:ext cx="1858328" cy="153090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0DE6017-70AF-8D0B-468D-C6A87648EAB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10063" y="3215201"/>
            <a:ext cx="1924107" cy="161406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C807B55-7E27-0B0D-562A-38874275D6A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8199" y="4996845"/>
            <a:ext cx="1743075" cy="166687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1318FA4-5A36-D0BA-5F76-5EB7891534C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10063" y="4996844"/>
            <a:ext cx="1730289" cy="1666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67945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18C3C6-FB66-3519-7B96-42D2D36326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magini gresit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4B7E931-E958-CCAC-003B-8EBBAE7347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620207"/>
            <a:ext cx="4394200" cy="347845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7FB4B4F-41DB-452C-323F-C6F92CCADC0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45523" y="1620207"/>
            <a:ext cx="4708277" cy="3478458"/>
          </a:xfrm>
          <a:prstGeom prst="rect">
            <a:avLst/>
          </a:prstGeom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0EC627FA-7BF8-1086-F933-A996C3209FEF}"/>
              </a:ext>
            </a:extLst>
          </p:cNvPr>
          <p:cNvSpPr txBox="1">
            <a:spLocks/>
          </p:cNvSpPr>
          <p:nvPr/>
        </p:nvSpPr>
        <p:spPr>
          <a:xfrm>
            <a:off x="729015" y="5425048"/>
            <a:ext cx="10515600" cy="15335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Total </a:t>
            </a:r>
            <a:r>
              <a:rPr lang="en-US" dirty="0" err="1"/>
              <a:t>imagini</a:t>
            </a:r>
            <a:r>
              <a:rPr lang="en-US" dirty="0"/>
              <a:t> </a:t>
            </a:r>
            <a:r>
              <a:rPr lang="en-US" dirty="0" err="1"/>
              <a:t>gresite</a:t>
            </a:r>
            <a:r>
              <a:rPr lang="en-US" dirty="0"/>
              <a:t>=77</a:t>
            </a:r>
          </a:p>
          <a:p>
            <a:r>
              <a:rPr lang="en-US" dirty="0"/>
              <a:t>Nr de </a:t>
            </a:r>
            <a:r>
              <a:rPr lang="en-US" dirty="0" err="1"/>
              <a:t>imagini</a:t>
            </a:r>
            <a:r>
              <a:rPr lang="en-US" dirty="0"/>
              <a:t> </a:t>
            </a:r>
            <a:r>
              <a:rPr lang="en-US" dirty="0" err="1"/>
              <a:t>gresite</a:t>
            </a:r>
            <a:r>
              <a:rPr lang="en-US" dirty="0"/>
              <a:t> </a:t>
            </a:r>
            <a:r>
              <a:rPr lang="en-US" dirty="0" err="1"/>
              <a:t>salvate</a:t>
            </a:r>
            <a:r>
              <a:rPr lang="en-US" dirty="0"/>
              <a:t> in folder -&gt;</a:t>
            </a:r>
          </a:p>
        </p:txBody>
      </p:sp>
    </p:spTree>
    <p:extLst>
      <p:ext uri="{BB962C8B-B14F-4D97-AF65-F5344CB8AC3E}">
        <p14:creationId xmlns:p14="http://schemas.microsoft.com/office/powerpoint/2010/main" val="40176937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IAAAAAAAAAAwAAAAMAAAAA/////wQAPwwAAAAAAAAAAAAAIAD///////////////8AAAD////////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5vt5qrG8BxKtpwZttlxozMFAAAAAAADAAAAAwADAAAAAQADAAIA////////BAAAAAMAEAALeU57oztsJ0KLNgxlR7t9sQUAAAABAAMAAAAAAAMAAAACAAM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AgMAAAAAAAAAAAAACAB////////////////AAAA////////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DAP///////wMAAwEDAAAAAwD///////8lAAZMaW5rZWRTaGFwZVByZXNlbnRhdGlvblNldHRpbmdzRGF0YV8wBQAAAAEABAAAAAAABAAAAAIABAAAAAAABAAAAAIA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Jvt5qrG8BxKtpwZttlxozMDRGF0YQAbAAAABExpbmtlZFNoYXBlRGF0YQAFAAAAAAACTmFtZQAZAAAATGlua2VkU2hhcGVzRGF0YVByb3BlcnR5ABBWZXJzaW9uAAAAAAAJTGFzdFdyaXRlANL+0ASPAQAAAAEA/////50AnQAAAAVfaWQAEAAAAAR5TnujO2wnQos2DGVHu32xA0RhdGEAKgAAAAhQcmVzZW50YXRpb25TY2FubmVkRm9yTGlua2VkU2hhcGVzAAEAAk5hbWUAJAAAAExpbmtlZFNoYXBlUHJlc2VudGF0aW9uU2V0dGluZ3NEYXRhABBWZXJzaW9uAAAAAAAJTGFzdFdyaXRlAAX/0ASP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2013 - 2022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6006a9c5-d130-408c-bc8e-3b5ecdb17aa0}" enabled="1" method="Standard" siteId="{8d4b558f-7b2e-40ba-ad1f-e04d79e6265a}" contentBits="2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TotalTime>0</TotalTime>
  <Words>112</Words>
  <Application>Microsoft Office PowerPoint</Application>
  <PresentationFormat>Widescreen</PresentationFormat>
  <Paragraphs>21</Paragraphs>
  <Slides>8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3" baseType="lpstr">
      <vt:lpstr>Arial</vt:lpstr>
      <vt:lpstr>Calibri</vt:lpstr>
      <vt:lpstr>Calibri Light</vt:lpstr>
      <vt:lpstr>Times New Roman</vt:lpstr>
      <vt:lpstr>Office Theme</vt:lpstr>
      <vt:lpstr>Proiect  Retele neurale MLP</vt:lpstr>
      <vt:lpstr>BAZA DE DATE</vt:lpstr>
      <vt:lpstr>Arhitectura utilizata</vt:lpstr>
      <vt:lpstr>Antrenare</vt:lpstr>
      <vt:lpstr>Performanta</vt:lpstr>
      <vt:lpstr>Testare</vt:lpstr>
      <vt:lpstr>Clasificare imagine noua</vt:lpstr>
      <vt:lpstr>Imagini gresit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iect Retele neurale</dc:title>
  <dc:creator>Stancete Stefan</dc:creator>
  <cp:lastModifiedBy>Sandru, Timotei</cp:lastModifiedBy>
  <cp:revision>16</cp:revision>
  <dcterms:created xsi:type="dcterms:W3CDTF">2024-04-21T11:18:55Z</dcterms:created>
  <dcterms:modified xsi:type="dcterms:W3CDTF">2024-04-22T08:31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ContentMarkingFooterLocations">
    <vt:lpwstr>Office Theme:8</vt:lpwstr>
  </property>
  <property fmtid="{D5CDD505-2E9C-101B-9397-08002B2CF9AE}" pid="3" name="ClassificationContentMarkingFooterText">
    <vt:lpwstr>Internal</vt:lpwstr>
  </property>
</Properties>
</file>